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notesSlides/notesSlide4.xml" ContentType="application/vnd.openxmlformats-officedocument.presentationml.notesSlid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notesSlides/notesSlide5.xml" ContentType="application/vnd.openxmlformats-officedocument.presentationml.notesSlide+xml"/>
  <Override PartName="/ppt/tags/tag222.xml" ContentType="application/vnd.openxmlformats-officedocument.presentationml.tags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7"/>
  </p:notesMasterIdLst>
  <p:sldIdLst>
    <p:sldId id="327" r:id="rId5"/>
    <p:sldId id="2147375523" r:id="rId6"/>
    <p:sldId id="2147375738" r:id="rId7"/>
    <p:sldId id="2147375744" r:id="rId8"/>
    <p:sldId id="2147375745" r:id="rId9"/>
    <p:sldId id="2147375748" r:id="rId10"/>
    <p:sldId id="2147375737" r:id="rId11"/>
    <p:sldId id="2147375752" r:id="rId12"/>
    <p:sldId id="2147481487" r:id="rId13"/>
    <p:sldId id="2147482971" r:id="rId14"/>
    <p:sldId id="2147375739" r:id="rId15"/>
    <p:sldId id="2147375862" r:id="rId16"/>
  </p:sldIdLst>
  <p:sldSz cx="12192000" cy="6858000"/>
  <p:notesSz cx="6858000" cy="9144000"/>
  <p:custDataLst>
    <p:tags r:id="rId18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327"/>
            <p14:sldId id="2147375523"/>
            <p14:sldId id="2147375738"/>
            <p14:sldId id="2147375744"/>
            <p14:sldId id="2147375745"/>
            <p14:sldId id="2147375748"/>
            <p14:sldId id="2147375737"/>
            <p14:sldId id="2147375752"/>
            <p14:sldId id="2147481487"/>
            <p14:sldId id="2147482971"/>
            <p14:sldId id="2147375739"/>
            <p14:sldId id="2147375862"/>
          </p14:sldIdLst>
        </p14:section>
        <p14:section name="Annex" id="{6060F927-E528-E547-85CB-5226F2D4F576}">
          <p14:sldIdLst/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197FF"/>
    <a:srgbClr val="C30B3E"/>
    <a:srgbClr val="AAC1FF"/>
    <a:srgbClr val="43C7A1"/>
    <a:srgbClr val="007770"/>
    <a:srgbClr val="AEE7D7"/>
    <a:srgbClr val="F0C7D7"/>
    <a:srgbClr val="FDE7D2"/>
    <a:srgbClr val="CDC1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296"/>
    <p:restoredTop sz="94694"/>
  </p:normalViewPr>
  <p:slideViewPr>
    <p:cSldViewPr snapToGrid="0" showGuides="1">
      <p:cViewPr varScale="1">
        <p:scale>
          <a:sx n="117" d="100"/>
          <a:sy n="117" d="100"/>
        </p:scale>
        <p:origin x="200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11/12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539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59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326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7E0F8F-A8CC-4A79-91AE-6B1E1B525F8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03301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A350F3-35B0-BF1E-A316-F866038B54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48ED3AA-B096-6F7B-105E-50BB3EABBF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8EC2517-F97F-F679-E41E-34BD657C6B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3DDCB4-5B6B-5329-7466-6481504BD9E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CFAD49-3F6D-4A44-99FE-9D0E2EFDDC8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64357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55ECEC-4EE4-604E-8AA4-7344F5E194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24220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 dirty="0"/>
              <a:t>Kattintson ide az alcím mintájának szerkesztéséhez</a:t>
            </a:r>
            <a:endParaRPr lang="en-US" dirty="0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11. 12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11. 12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11. 12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3" Type="http://schemas.openxmlformats.org/officeDocument/2006/relationships/tags" Target="../tags/tag221.xml"/><Relationship Id="rId7" Type="http://schemas.openxmlformats.org/officeDocument/2006/relationships/image" Target="../media/image16.emf"/><Relationship Id="rId12" Type="http://schemas.openxmlformats.org/officeDocument/2006/relationships/hyperlink" Target="https://docs.hypatos.ai/integrations/sap-integration" TargetMode="External"/><Relationship Id="rId17" Type="http://schemas.openxmlformats.org/officeDocument/2006/relationships/image" Target="../media/image23.png"/><Relationship Id="rId2" Type="http://schemas.openxmlformats.org/officeDocument/2006/relationships/tags" Target="../tags/tag220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tags" Target="../tags/tag219.xml"/><Relationship Id="rId6" Type="http://schemas.openxmlformats.org/officeDocument/2006/relationships/oleObject" Target="../embeddings/oleObject11.bin"/><Relationship Id="rId11" Type="http://schemas.openxmlformats.org/officeDocument/2006/relationships/hyperlink" Target="https://hypatos.redoc.ly/#section/Introduction" TargetMode="External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21.png"/><Relationship Id="rId10" Type="http://schemas.openxmlformats.org/officeDocument/2006/relationships/hyperlink" Target="https://docs.hypatos.ai/user-guide/document-upload/email-service" TargetMode="External"/><Relationship Id="rId19" Type="http://schemas.openxmlformats.org/officeDocument/2006/relationships/image" Target="../media/image25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8.png"/><Relationship Id="rId14" Type="http://schemas.openxmlformats.org/officeDocument/2006/relationships/image" Target="../media/image20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22.xml"/><Relationship Id="rId4" Type="http://schemas.openxmlformats.org/officeDocument/2006/relationships/image" Target="../media/image1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9.png"/><Relationship Id="rId5" Type="http://schemas.openxmlformats.org/officeDocument/2006/relationships/hyperlink" Target="http://www.hypatos.ai/" TargetMode="External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27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63" Type="http://schemas.openxmlformats.org/officeDocument/2006/relationships/tags" Target="../tags/tag73.xml"/><Relationship Id="rId84" Type="http://schemas.openxmlformats.org/officeDocument/2006/relationships/tags" Target="../tags/tag94.xml"/><Relationship Id="rId138" Type="http://schemas.openxmlformats.org/officeDocument/2006/relationships/tags" Target="../tags/tag148.xml"/><Relationship Id="rId159" Type="http://schemas.openxmlformats.org/officeDocument/2006/relationships/tags" Target="../tags/tag169.xml"/><Relationship Id="rId170" Type="http://schemas.openxmlformats.org/officeDocument/2006/relationships/tags" Target="../tags/tag180.xml"/><Relationship Id="rId191" Type="http://schemas.openxmlformats.org/officeDocument/2006/relationships/tags" Target="../tags/tag201.xml"/><Relationship Id="rId205" Type="http://schemas.openxmlformats.org/officeDocument/2006/relationships/tags" Target="../tags/tag215.xml"/><Relationship Id="rId107" Type="http://schemas.openxmlformats.org/officeDocument/2006/relationships/tags" Target="../tags/tag117.xml"/><Relationship Id="rId11" Type="http://schemas.openxmlformats.org/officeDocument/2006/relationships/tags" Target="../tags/tag21.xml"/><Relationship Id="rId32" Type="http://schemas.openxmlformats.org/officeDocument/2006/relationships/tags" Target="../tags/tag42.xml"/><Relationship Id="rId53" Type="http://schemas.openxmlformats.org/officeDocument/2006/relationships/tags" Target="../tags/tag63.xml"/><Relationship Id="rId74" Type="http://schemas.openxmlformats.org/officeDocument/2006/relationships/tags" Target="../tags/tag84.xml"/><Relationship Id="rId128" Type="http://schemas.openxmlformats.org/officeDocument/2006/relationships/tags" Target="../tags/tag138.xml"/><Relationship Id="rId149" Type="http://schemas.openxmlformats.org/officeDocument/2006/relationships/tags" Target="../tags/tag159.xml"/><Relationship Id="rId5" Type="http://schemas.openxmlformats.org/officeDocument/2006/relationships/tags" Target="../tags/tag15.xml"/><Relationship Id="rId95" Type="http://schemas.openxmlformats.org/officeDocument/2006/relationships/tags" Target="../tags/tag105.xml"/><Relationship Id="rId160" Type="http://schemas.openxmlformats.org/officeDocument/2006/relationships/tags" Target="../tags/tag170.xml"/><Relationship Id="rId181" Type="http://schemas.openxmlformats.org/officeDocument/2006/relationships/tags" Target="../tags/tag191.xml"/><Relationship Id="rId22" Type="http://schemas.openxmlformats.org/officeDocument/2006/relationships/tags" Target="../tags/tag32.xml"/><Relationship Id="rId43" Type="http://schemas.openxmlformats.org/officeDocument/2006/relationships/tags" Target="../tags/tag53.xml"/><Relationship Id="rId64" Type="http://schemas.openxmlformats.org/officeDocument/2006/relationships/tags" Target="../tags/tag74.xml"/><Relationship Id="rId118" Type="http://schemas.openxmlformats.org/officeDocument/2006/relationships/tags" Target="../tags/tag128.xml"/><Relationship Id="rId139" Type="http://schemas.openxmlformats.org/officeDocument/2006/relationships/tags" Target="../tags/tag149.xml"/><Relationship Id="rId85" Type="http://schemas.openxmlformats.org/officeDocument/2006/relationships/tags" Target="../tags/tag95.xml"/><Relationship Id="rId150" Type="http://schemas.openxmlformats.org/officeDocument/2006/relationships/tags" Target="../tags/tag160.xml"/><Relationship Id="rId171" Type="http://schemas.openxmlformats.org/officeDocument/2006/relationships/tags" Target="../tags/tag181.xml"/><Relationship Id="rId192" Type="http://schemas.openxmlformats.org/officeDocument/2006/relationships/tags" Target="../tags/tag202.xml"/><Relationship Id="rId206" Type="http://schemas.openxmlformats.org/officeDocument/2006/relationships/tags" Target="../tags/tag216.xml"/><Relationship Id="rId12" Type="http://schemas.openxmlformats.org/officeDocument/2006/relationships/tags" Target="../tags/tag22.xml"/><Relationship Id="rId33" Type="http://schemas.openxmlformats.org/officeDocument/2006/relationships/tags" Target="../tags/tag43.xml"/><Relationship Id="rId108" Type="http://schemas.openxmlformats.org/officeDocument/2006/relationships/tags" Target="../tags/tag118.xml"/><Relationship Id="rId129" Type="http://schemas.openxmlformats.org/officeDocument/2006/relationships/tags" Target="../tags/tag139.xml"/><Relationship Id="rId54" Type="http://schemas.openxmlformats.org/officeDocument/2006/relationships/tags" Target="../tags/tag64.xml"/><Relationship Id="rId75" Type="http://schemas.openxmlformats.org/officeDocument/2006/relationships/tags" Target="../tags/tag85.xml"/><Relationship Id="rId96" Type="http://schemas.openxmlformats.org/officeDocument/2006/relationships/tags" Target="../tags/tag106.xml"/><Relationship Id="rId140" Type="http://schemas.openxmlformats.org/officeDocument/2006/relationships/tags" Target="../tags/tag150.xml"/><Relationship Id="rId161" Type="http://schemas.openxmlformats.org/officeDocument/2006/relationships/tags" Target="../tags/tag171.xml"/><Relationship Id="rId182" Type="http://schemas.openxmlformats.org/officeDocument/2006/relationships/tags" Target="../tags/tag192.xml"/><Relationship Id="rId6" Type="http://schemas.openxmlformats.org/officeDocument/2006/relationships/tags" Target="../tags/tag16.xml"/><Relationship Id="rId23" Type="http://schemas.openxmlformats.org/officeDocument/2006/relationships/tags" Target="../tags/tag33.xml"/><Relationship Id="rId119" Type="http://schemas.openxmlformats.org/officeDocument/2006/relationships/tags" Target="../tags/tag129.xml"/><Relationship Id="rId44" Type="http://schemas.openxmlformats.org/officeDocument/2006/relationships/tags" Target="../tags/tag54.xml"/><Relationship Id="rId65" Type="http://schemas.openxmlformats.org/officeDocument/2006/relationships/tags" Target="../tags/tag75.xml"/><Relationship Id="rId86" Type="http://schemas.openxmlformats.org/officeDocument/2006/relationships/tags" Target="../tags/tag96.xml"/><Relationship Id="rId130" Type="http://schemas.openxmlformats.org/officeDocument/2006/relationships/tags" Target="../tags/tag140.xml"/><Relationship Id="rId151" Type="http://schemas.openxmlformats.org/officeDocument/2006/relationships/tags" Target="../tags/tag161.xml"/><Relationship Id="rId172" Type="http://schemas.openxmlformats.org/officeDocument/2006/relationships/tags" Target="../tags/tag182.xml"/><Relationship Id="rId193" Type="http://schemas.openxmlformats.org/officeDocument/2006/relationships/tags" Target="../tags/tag203.xml"/><Relationship Id="rId207" Type="http://schemas.openxmlformats.org/officeDocument/2006/relationships/tags" Target="../tags/tag217.xml"/><Relationship Id="rId13" Type="http://schemas.openxmlformats.org/officeDocument/2006/relationships/tags" Target="../tags/tag23.xml"/><Relationship Id="rId109" Type="http://schemas.openxmlformats.org/officeDocument/2006/relationships/tags" Target="../tags/tag119.xml"/><Relationship Id="rId34" Type="http://schemas.openxmlformats.org/officeDocument/2006/relationships/tags" Target="../tags/tag44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tags" Target="../tags/tag107.xml"/><Relationship Id="rId120" Type="http://schemas.openxmlformats.org/officeDocument/2006/relationships/tags" Target="../tags/tag130.xml"/><Relationship Id="rId141" Type="http://schemas.openxmlformats.org/officeDocument/2006/relationships/tags" Target="../tags/tag151.xml"/><Relationship Id="rId7" Type="http://schemas.openxmlformats.org/officeDocument/2006/relationships/tags" Target="../tags/tag17.xml"/><Relationship Id="rId162" Type="http://schemas.openxmlformats.org/officeDocument/2006/relationships/tags" Target="../tags/tag172.xml"/><Relationship Id="rId183" Type="http://schemas.openxmlformats.org/officeDocument/2006/relationships/tags" Target="../tags/tag193.xml"/><Relationship Id="rId24" Type="http://schemas.openxmlformats.org/officeDocument/2006/relationships/tags" Target="../tags/tag34.xml"/><Relationship Id="rId45" Type="http://schemas.openxmlformats.org/officeDocument/2006/relationships/tags" Target="../tags/tag55.xml"/><Relationship Id="rId66" Type="http://schemas.openxmlformats.org/officeDocument/2006/relationships/tags" Target="../tags/tag76.xml"/><Relationship Id="rId87" Type="http://schemas.openxmlformats.org/officeDocument/2006/relationships/tags" Target="../tags/tag97.xml"/><Relationship Id="rId110" Type="http://schemas.openxmlformats.org/officeDocument/2006/relationships/tags" Target="../tags/tag120.xml"/><Relationship Id="rId131" Type="http://schemas.openxmlformats.org/officeDocument/2006/relationships/tags" Target="../tags/tag141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152" Type="http://schemas.openxmlformats.org/officeDocument/2006/relationships/tags" Target="../tags/tag162.xml"/><Relationship Id="rId173" Type="http://schemas.openxmlformats.org/officeDocument/2006/relationships/tags" Target="../tags/tag183.xml"/><Relationship Id="rId194" Type="http://schemas.openxmlformats.org/officeDocument/2006/relationships/tags" Target="../tags/tag204.xml"/><Relationship Id="rId199" Type="http://schemas.openxmlformats.org/officeDocument/2006/relationships/tags" Target="../tags/tag209.xml"/><Relationship Id="rId203" Type="http://schemas.openxmlformats.org/officeDocument/2006/relationships/tags" Target="../tags/tag213.xml"/><Relationship Id="rId208" Type="http://schemas.openxmlformats.org/officeDocument/2006/relationships/tags" Target="../tags/tag218.xml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56" Type="http://schemas.openxmlformats.org/officeDocument/2006/relationships/tags" Target="../tags/tag66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105" Type="http://schemas.openxmlformats.org/officeDocument/2006/relationships/tags" Target="../tags/tag115.xml"/><Relationship Id="rId126" Type="http://schemas.openxmlformats.org/officeDocument/2006/relationships/tags" Target="../tags/tag136.xml"/><Relationship Id="rId147" Type="http://schemas.openxmlformats.org/officeDocument/2006/relationships/tags" Target="../tags/tag157.xml"/><Relationship Id="rId168" Type="http://schemas.openxmlformats.org/officeDocument/2006/relationships/tags" Target="../tags/tag178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93" Type="http://schemas.openxmlformats.org/officeDocument/2006/relationships/tags" Target="../tags/tag103.xml"/><Relationship Id="rId98" Type="http://schemas.openxmlformats.org/officeDocument/2006/relationships/tags" Target="../tags/tag108.xml"/><Relationship Id="rId121" Type="http://schemas.openxmlformats.org/officeDocument/2006/relationships/tags" Target="../tags/tag131.xml"/><Relationship Id="rId142" Type="http://schemas.openxmlformats.org/officeDocument/2006/relationships/tags" Target="../tags/tag152.xml"/><Relationship Id="rId163" Type="http://schemas.openxmlformats.org/officeDocument/2006/relationships/tags" Target="../tags/tag173.xml"/><Relationship Id="rId184" Type="http://schemas.openxmlformats.org/officeDocument/2006/relationships/tags" Target="../tags/tag194.xml"/><Relationship Id="rId189" Type="http://schemas.openxmlformats.org/officeDocument/2006/relationships/tags" Target="../tags/tag199.xml"/><Relationship Id="rId3" Type="http://schemas.openxmlformats.org/officeDocument/2006/relationships/tags" Target="../tags/tag13.xml"/><Relationship Id="rId25" Type="http://schemas.openxmlformats.org/officeDocument/2006/relationships/tags" Target="../tags/tag35.xml"/><Relationship Id="rId46" Type="http://schemas.openxmlformats.org/officeDocument/2006/relationships/tags" Target="../tags/tag56.xml"/><Relationship Id="rId67" Type="http://schemas.openxmlformats.org/officeDocument/2006/relationships/tags" Target="../tags/tag77.xml"/><Relationship Id="rId116" Type="http://schemas.openxmlformats.org/officeDocument/2006/relationships/tags" Target="../tags/tag126.xml"/><Relationship Id="rId137" Type="http://schemas.openxmlformats.org/officeDocument/2006/relationships/tags" Target="../tags/tag147.xml"/><Relationship Id="rId158" Type="http://schemas.openxmlformats.org/officeDocument/2006/relationships/tags" Target="../tags/tag168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62" Type="http://schemas.openxmlformats.org/officeDocument/2006/relationships/tags" Target="../tags/tag72.xml"/><Relationship Id="rId83" Type="http://schemas.openxmlformats.org/officeDocument/2006/relationships/tags" Target="../tags/tag93.xml"/><Relationship Id="rId88" Type="http://schemas.openxmlformats.org/officeDocument/2006/relationships/tags" Target="../tags/tag98.xml"/><Relationship Id="rId111" Type="http://schemas.openxmlformats.org/officeDocument/2006/relationships/tags" Target="../tags/tag121.xml"/><Relationship Id="rId132" Type="http://schemas.openxmlformats.org/officeDocument/2006/relationships/tags" Target="../tags/tag142.xml"/><Relationship Id="rId153" Type="http://schemas.openxmlformats.org/officeDocument/2006/relationships/tags" Target="../tags/tag163.xml"/><Relationship Id="rId174" Type="http://schemas.openxmlformats.org/officeDocument/2006/relationships/tags" Target="../tags/tag184.xml"/><Relationship Id="rId179" Type="http://schemas.openxmlformats.org/officeDocument/2006/relationships/tags" Target="../tags/tag189.xml"/><Relationship Id="rId195" Type="http://schemas.openxmlformats.org/officeDocument/2006/relationships/tags" Target="../tags/tag205.xml"/><Relationship Id="rId209" Type="http://schemas.openxmlformats.org/officeDocument/2006/relationships/slideLayout" Target="../slideLayouts/slideLayout11.xml"/><Relationship Id="rId190" Type="http://schemas.openxmlformats.org/officeDocument/2006/relationships/tags" Target="../tags/tag200.xml"/><Relationship Id="rId204" Type="http://schemas.openxmlformats.org/officeDocument/2006/relationships/tags" Target="../tags/tag214.xml"/><Relationship Id="rId15" Type="http://schemas.openxmlformats.org/officeDocument/2006/relationships/tags" Target="../tags/tag25.xml"/><Relationship Id="rId36" Type="http://schemas.openxmlformats.org/officeDocument/2006/relationships/tags" Target="../tags/tag46.xml"/><Relationship Id="rId57" Type="http://schemas.openxmlformats.org/officeDocument/2006/relationships/tags" Target="../tags/tag67.xml"/><Relationship Id="rId106" Type="http://schemas.openxmlformats.org/officeDocument/2006/relationships/tags" Target="../tags/tag116.xml"/><Relationship Id="rId127" Type="http://schemas.openxmlformats.org/officeDocument/2006/relationships/tags" Target="../tags/tag137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52" Type="http://schemas.openxmlformats.org/officeDocument/2006/relationships/tags" Target="../tags/tag62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94" Type="http://schemas.openxmlformats.org/officeDocument/2006/relationships/tags" Target="../tags/tag104.xml"/><Relationship Id="rId99" Type="http://schemas.openxmlformats.org/officeDocument/2006/relationships/tags" Target="../tags/tag109.xml"/><Relationship Id="rId101" Type="http://schemas.openxmlformats.org/officeDocument/2006/relationships/tags" Target="../tags/tag111.xml"/><Relationship Id="rId122" Type="http://schemas.openxmlformats.org/officeDocument/2006/relationships/tags" Target="../tags/tag132.xml"/><Relationship Id="rId143" Type="http://schemas.openxmlformats.org/officeDocument/2006/relationships/tags" Target="../tags/tag153.xml"/><Relationship Id="rId148" Type="http://schemas.openxmlformats.org/officeDocument/2006/relationships/tags" Target="../tags/tag158.xml"/><Relationship Id="rId164" Type="http://schemas.openxmlformats.org/officeDocument/2006/relationships/tags" Target="../tags/tag174.xml"/><Relationship Id="rId169" Type="http://schemas.openxmlformats.org/officeDocument/2006/relationships/tags" Target="../tags/tag179.xml"/><Relationship Id="rId185" Type="http://schemas.openxmlformats.org/officeDocument/2006/relationships/tags" Target="../tags/tag195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80" Type="http://schemas.openxmlformats.org/officeDocument/2006/relationships/tags" Target="../tags/tag190.xml"/><Relationship Id="rId210" Type="http://schemas.openxmlformats.org/officeDocument/2006/relationships/notesSlide" Target="../notesSlides/notesSlide4.xml"/><Relationship Id="rId26" Type="http://schemas.openxmlformats.org/officeDocument/2006/relationships/tags" Target="../tags/tag36.xml"/><Relationship Id="rId47" Type="http://schemas.openxmlformats.org/officeDocument/2006/relationships/tags" Target="../tags/tag57.xml"/><Relationship Id="rId68" Type="http://schemas.openxmlformats.org/officeDocument/2006/relationships/tags" Target="../tags/tag78.xml"/><Relationship Id="rId89" Type="http://schemas.openxmlformats.org/officeDocument/2006/relationships/tags" Target="../tags/tag99.xml"/><Relationship Id="rId112" Type="http://schemas.openxmlformats.org/officeDocument/2006/relationships/tags" Target="../tags/tag122.xml"/><Relationship Id="rId133" Type="http://schemas.openxmlformats.org/officeDocument/2006/relationships/tags" Target="../tags/tag143.xml"/><Relationship Id="rId154" Type="http://schemas.openxmlformats.org/officeDocument/2006/relationships/tags" Target="../tags/tag164.xml"/><Relationship Id="rId175" Type="http://schemas.openxmlformats.org/officeDocument/2006/relationships/tags" Target="../tags/tag185.xml"/><Relationship Id="rId196" Type="http://schemas.openxmlformats.org/officeDocument/2006/relationships/tags" Target="../tags/tag206.xml"/><Relationship Id="rId200" Type="http://schemas.openxmlformats.org/officeDocument/2006/relationships/tags" Target="../tags/tag210.xml"/><Relationship Id="rId16" Type="http://schemas.openxmlformats.org/officeDocument/2006/relationships/tags" Target="../tags/tag26.xml"/><Relationship Id="rId37" Type="http://schemas.openxmlformats.org/officeDocument/2006/relationships/tags" Target="../tags/tag47.xml"/><Relationship Id="rId58" Type="http://schemas.openxmlformats.org/officeDocument/2006/relationships/tags" Target="../tags/tag68.xml"/><Relationship Id="rId79" Type="http://schemas.openxmlformats.org/officeDocument/2006/relationships/tags" Target="../tags/tag89.xml"/><Relationship Id="rId102" Type="http://schemas.openxmlformats.org/officeDocument/2006/relationships/tags" Target="../tags/tag112.xml"/><Relationship Id="rId123" Type="http://schemas.openxmlformats.org/officeDocument/2006/relationships/tags" Target="../tags/tag133.xml"/><Relationship Id="rId144" Type="http://schemas.openxmlformats.org/officeDocument/2006/relationships/tags" Target="../tags/tag154.xml"/><Relationship Id="rId90" Type="http://schemas.openxmlformats.org/officeDocument/2006/relationships/tags" Target="../tags/tag100.xml"/><Relationship Id="rId165" Type="http://schemas.openxmlformats.org/officeDocument/2006/relationships/tags" Target="../tags/tag175.xml"/><Relationship Id="rId186" Type="http://schemas.openxmlformats.org/officeDocument/2006/relationships/tags" Target="../tags/tag196.xml"/><Relationship Id="rId211" Type="http://schemas.openxmlformats.org/officeDocument/2006/relationships/oleObject" Target="../embeddings/oleObject10.bin"/><Relationship Id="rId27" Type="http://schemas.openxmlformats.org/officeDocument/2006/relationships/tags" Target="../tags/tag37.xml"/><Relationship Id="rId48" Type="http://schemas.openxmlformats.org/officeDocument/2006/relationships/tags" Target="../tags/tag58.xml"/><Relationship Id="rId69" Type="http://schemas.openxmlformats.org/officeDocument/2006/relationships/tags" Target="../tags/tag79.xml"/><Relationship Id="rId113" Type="http://schemas.openxmlformats.org/officeDocument/2006/relationships/tags" Target="../tags/tag123.xml"/><Relationship Id="rId134" Type="http://schemas.openxmlformats.org/officeDocument/2006/relationships/tags" Target="../tags/tag144.xml"/><Relationship Id="rId80" Type="http://schemas.openxmlformats.org/officeDocument/2006/relationships/tags" Target="../tags/tag90.xml"/><Relationship Id="rId155" Type="http://schemas.openxmlformats.org/officeDocument/2006/relationships/tags" Target="../tags/tag165.xml"/><Relationship Id="rId176" Type="http://schemas.openxmlformats.org/officeDocument/2006/relationships/tags" Target="../tags/tag186.xml"/><Relationship Id="rId197" Type="http://schemas.openxmlformats.org/officeDocument/2006/relationships/tags" Target="../tags/tag207.xml"/><Relationship Id="rId201" Type="http://schemas.openxmlformats.org/officeDocument/2006/relationships/tags" Target="../tags/tag211.xml"/><Relationship Id="rId17" Type="http://schemas.openxmlformats.org/officeDocument/2006/relationships/tags" Target="../tags/tag27.xml"/><Relationship Id="rId38" Type="http://schemas.openxmlformats.org/officeDocument/2006/relationships/tags" Target="../tags/tag48.xml"/><Relationship Id="rId59" Type="http://schemas.openxmlformats.org/officeDocument/2006/relationships/tags" Target="../tags/tag69.xml"/><Relationship Id="rId103" Type="http://schemas.openxmlformats.org/officeDocument/2006/relationships/tags" Target="../tags/tag113.xml"/><Relationship Id="rId124" Type="http://schemas.openxmlformats.org/officeDocument/2006/relationships/tags" Target="../tags/tag134.xml"/><Relationship Id="rId70" Type="http://schemas.openxmlformats.org/officeDocument/2006/relationships/tags" Target="../tags/tag80.xml"/><Relationship Id="rId91" Type="http://schemas.openxmlformats.org/officeDocument/2006/relationships/tags" Target="../tags/tag101.xml"/><Relationship Id="rId145" Type="http://schemas.openxmlformats.org/officeDocument/2006/relationships/tags" Target="../tags/tag155.xml"/><Relationship Id="rId166" Type="http://schemas.openxmlformats.org/officeDocument/2006/relationships/tags" Target="../tags/tag176.xml"/><Relationship Id="rId187" Type="http://schemas.openxmlformats.org/officeDocument/2006/relationships/tags" Target="../tags/tag197.xml"/><Relationship Id="rId1" Type="http://schemas.openxmlformats.org/officeDocument/2006/relationships/tags" Target="../tags/tag11.xml"/><Relationship Id="rId212" Type="http://schemas.openxmlformats.org/officeDocument/2006/relationships/image" Target="../media/image15.emf"/><Relationship Id="rId28" Type="http://schemas.openxmlformats.org/officeDocument/2006/relationships/tags" Target="../tags/tag38.xml"/><Relationship Id="rId49" Type="http://schemas.openxmlformats.org/officeDocument/2006/relationships/tags" Target="../tags/tag59.xml"/><Relationship Id="rId114" Type="http://schemas.openxmlformats.org/officeDocument/2006/relationships/tags" Target="../tags/tag124.xml"/><Relationship Id="rId60" Type="http://schemas.openxmlformats.org/officeDocument/2006/relationships/tags" Target="../tags/tag70.xml"/><Relationship Id="rId81" Type="http://schemas.openxmlformats.org/officeDocument/2006/relationships/tags" Target="../tags/tag91.xml"/><Relationship Id="rId135" Type="http://schemas.openxmlformats.org/officeDocument/2006/relationships/tags" Target="../tags/tag145.xml"/><Relationship Id="rId156" Type="http://schemas.openxmlformats.org/officeDocument/2006/relationships/tags" Target="../tags/tag166.xml"/><Relationship Id="rId177" Type="http://schemas.openxmlformats.org/officeDocument/2006/relationships/tags" Target="../tags/tag187.xml"/><Relationship Id="rId198" Type="http://schemas.openxmlformats.org/officeDocument/2006/relationships/tags" Target="../tags/tag208.xml"/><Relationship Id="rId202" Type="http://schemas.openxmlformats.org/officeDocument/2006/relationships/tags" Target="../tags/tag212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50" Type="http://schemas.openxmlformats.org/officeDocument/2006/relationships/tags" Target="../tags/tag60.xml"/><Relationship Id="rId104" Type="http://schemas.openxmlformats.org/officeDocument/2006/relationships/tags" Target="../tags/tag114.xml"/><Relationship Id="rId125" Type="http://schemas.openxmlformats.org/officeDocument/2006/relationships/tags" Target="../tags/tag135.xml"/><Relationship Id="rId146" Type="http://schemas.openxmlformats.org/officeDocument/2006/relationships/tags" Target="../tags/tag156.xml"/><Relationship Id="rId167" Type="http://schemas.openxmlformats.org/officeDocument/2006/relationships/tags" Target="../tags/tag177.xml"/><Relationship Id="rId188" Type="http://schemas.openxmlformats.org/officeDocument/2006/relationships/tags" Target="../tags/tag198.xml"/><Relationship Id="rId71" Type="http://schemas.openxmlformats.org/officeDocument/2006/relationships/tags" Target="../tags/tag81.xml"/><Relationship Id="rId92" Type="http://schemas.openxmlformats.org/officeDocument/2006/relationships/tags" Target="../tags/tag102.xml"/><Relationship Id="rId2" Type="http://schemas.openxmlformats.org/officeDocument/2006/relationships/tags" Target="../tags/tag12.xml"/><Relationship Id="rId29" Type="http://schemas.openxmlformats.org/officeDocument/2006/relationships/tags" Target="../tags/tag39.xml"/><Relationship Id="rId40" Type="http://schemas.openxmlformats.org/officeDocument/2006/relationships/tags" Target="../tags/tag50.xml"/><Relationship Id="rId115" Type="http://schemas.openxmlformats.org/officeDocument/2006/relationships/tags" Target="../tags/tag125.xml"/><Relationship Id="rId136" Type="http://schemas.openxmlformats.org/officeDocument/2006/relationships/tags" Target="../tags/tag146.xml"/><Relationship Id="rId157" Type="http://schemas.openxmlformats.org/officeDocument/2006/relationships/tags" Target="../tags/tag167.xml"/><Relationship Id="rId178" Type="http://schemas.openxmlformats.org/officeDocument/2006/relationships/tags" Target="../tags/tag18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EBF0E9-8189-29F3-C5F1-F842D5DFC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942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EBF0E9-8189-29F3-C5F1-F842D5DFC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0D521E6-A9D0-E5E4-1B64-6F4F417DE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4800"/>
              <a:t>Next Generation AI for Document Automation – Accounts Payables</a:t>
            </a:r>
            <a:endParaRPr lang="en-US" dirty="0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CCB28E9-57C2-6F42-8FC3-2BC3B58EA9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4636512"/>
            <a:ext cx="2126896" cy="402546"/>
          </a:xfrm>
        </p:spPr>
        <p:txBody>
          <a:bodyPr/>
          <a:lstStyle/>
          <a:p>
            <a:r>
              <a:rPr lang="en-US" dirty="0">
                <a:latin typeface="Open Sauce One"/>
              </a:rPr>
              <a:t>Weekly Report CW</a:t>
            </a:r>
            <a:endParaRPr lang="en-US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181436A4-2142-D060-55E8-64356F7A9D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33617"/>
          </a:xfrm>
        </p:spPr>
        <p:txBody>
          <a:bodyPr/>
          <a:lstStyle/>
          <a:p>
            <a:r>
              <a:rPr lang="en-US"/>
              <a:t>January </a:t>
            </a:r>
            <a:r>
              <a:rPr lang="en-US" dirty="0"/>
              <a:t>2024</a:t>
            </a:r>
          </a:p>
        </p:txBody>
      </p:sp>
      <p:pic>
        <p:nvPicPr>
          <p:cNvPr id="10" name="Kép 10">
            <a:extLst>
              <a:ext uri="{FF2B5EF4-FFF2-40B4-BE49-F238E27FC236}">
                <a16:creationId xmlns:a16="http://schemas.microsoft.com/office/drawing/2014/main" id="{9C6F8094-D964-818A-FF05-00FCA86997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7203" y="1333241"/>
            <a:ext cx="4770308" cy="4277799"/>
          </a:xfrm>
          <a:prstGeom prst="rect">
            <a:avLst/>
          </a:prstGeom>
        </p:spPr>
      </p:pic>
      <p:sp>
        <p:nvSpPr>
          <p:cNvPr id="8" name="CWPlaceHolder">
            <a:extLst>
              <a:ext uri="{FF2B5EF4-FFF2-40B4-BE49-F238E27FC236}">
                <a16:creationId xmlns:a16="http://schemas.microsoft.com/office/drawing/2014/main" id="{F7287745-2D3F-A59C-1BE4-F00C477E816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192241" y="4636512"/>
            <a:ext cx="2126896" cy="402546"/>
          </a:xfrm>
          <a:prstGeom prst="rect">
            <a:avLst/>
          </a:prstGeom>
        </p:spPr>
        <p:txBody>
          <a:bodyPr vert="horz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Open Sauce One"/>
              </a:rPr>
              <a:t>#placeholder</a:t>
            </a:r>
            <a:endParaRPr lang="en-US" dirty="0"/>
          </a:p>
        </p:txBody>
      </p:sp>
      <p:pic>
        <p:nvPicPr>
          <p:cNvPr id="9" name="Picture 8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32894443-17F5-3854-8C1E-6B6B16DE4E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47841" y="-114559"/>
            <a:ext cx="2857500" cy="129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5950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FF06AD-68B9-3854-B665-2BB91196A5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5B38ADE-0746-31C9-0F12-FA872979BA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0" imgH="409" progId="TCLayout.ActiveDocument.1">
                  <p:embed/>
                </p:oleObj>
              </mc:Choice>
              <mc:Fallback>
                <p:oleObj name="think-cell Slide" r:id="rId6" imgW="410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5B38ADE-0746-31C9-0F12-FA872979BA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BCF458-8688-E690-2567-BE4C08BE1C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56C7C8-7975-97F7-9985-599E6F5714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 panose="020F0502020204030203"/>
              <a:ea typeface="+mn-ea"/>
              <a:cs typeface="+mn-cs"/>
              <a:sym typeface="Lato" panose="020F0502020204030203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F819AC1-85B8-5BD8-8381-8B21FFD2312E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2D6F842F-07DF-1AE9-4872-3E2D1317E434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DC3B25-08F6-7A6D-ECDF-B2953669E4FF}"/>
              </a:ext>
            </a:extLst>
          </p:cNvPr>
          <p:cNvSpPr/>
          <p:nvPr/>
        </p:nvSpPr>
        <p:spPr>
          <a:xfrm>
            <a:off x="555919" y="1609766"/>
            <a:ext cx="8393872" cy="2448941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A0F8251-540D-0941-5516-1DAE34D25B02}"/>
              </a:ext>
            </a:extLst>
          </p:cNvPr>
          <p:cNvSpPr/>
          <p:nvPr/>
        </p:nvSpPr>
        <p:spPr>
          <a:xfrm>
            <a:off x="555919" y="4199172"/>
            <a:ext cx="8393872" cy="1784122"/>
          </a:xfrm>
          <a:prstGeom prst="rect">
            <a:avLst/>
          </a:prstGeom>
          <a:noFill/>
          <a:ln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pic>
        <p:nvPicPr>
          <p:cNvPr id="9" name="Grafik 5">
            <a:extLst>
              <a:ext uri="{FF2B5EF4-FFF2-40B4-BE49-F238E27FC236}">
                <a16:creationId xmlns:a16="http://schemas.microsoft.com/office/drawing/2014/main" id="{73F01BAF-2F01-6B70-56BB-EA3BE459FD3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936" y="4279494"/>
            <a:ext cx="484236" cy="9969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2E327FB-7B88-6685-CE52-DDD7BC7ED20B}"/>
              </a:ext>
            </a:extLst>
          </p:cNvPr>
          <p:cNvSpPr/>
          <p:nvPr/>
        </p:nvSpPr>
        <p:spPr>
          <a:xfrm>
            <a:off x="3311495" y="4617821"/>
            <a:ext cx="4048608" cy="1283992"/>
          </a:xfrm>
          <a:prstGeom prst="rect">
            <a:avLst/>
          </a:prstGeom>
          <a:noFill/>
          <a:ln w="19050">
            <a:solidFill>
              <a:schemeClr val="accent4"/>
            </a:solidFill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2F7FF15-3B57-22A9-121B-CAB954A41CCA}"/>
              </a:ext>
            </a:extLst>
          </p:cNvPr>
          <p:cNvSpPr/>
          <p:nvPr/>
        </p:nvSpPr>
        <p:spPr>
          <a:xfrm>
            <a:off x="2960411" y="1717172"/>
            <a:ext cx="5908459" cy="2235254"/>
          </a:xfrm>
          <a:prstGeom prst="rect">
            <a:avLst/>
          </a:prstGeom>
          <a:noFill/>
          <a:ln w="19050">
            <a:solidFill>
              <a:schemeClr val="accent4">
                <a:lumMod val="40000"/>
                <a:lumOff val="60000"/>
              </a:schemeClr>
            </a:solidFill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13" name="Cylinder 12">
            <a:extLst>
              <a:ext uri="{FF2B5EF4-FFF2-40B4-BE49-F238E27FC236}">
                <a16:creationId xmlns:a16="http://schemas.microsoft.com/office/drawing/2014/main" id="{FC4D817E-CF4E-58A7-5395-85C1FD797A98}"/>
              </a:ext>
            </a:extLst>
          </p:cNvPr>
          <p:cNvSpPr/>
          <p:nvPr/>
        </p:nvSpPr>
        <p:spPr>
          <a:xfrm>
            <a:off x="7697518" y="1826973"/>
            <a:ext cx="991255" cy="970304"/>
          </a:xfrm>
          <a:prstGeom prst="can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aster Data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osting Data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A1F3770-013F-C4C5-6EC2-FD90D8935C14}"/>
              </a:ext>
            </a:extLst>
          </p:cNvPr>
          <p:cNvSpPr/>
          <p:nvPr/>
        </p:nvSpPr>
        <p:spPr>
          <a:xfrm>
            <a:off x="4286702" y="1852488"/>
            <a:ext cx="1685166" cy="946770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19" name="Cylinder 18">
            <a:extLst>
              <a:ext uri="{FF2B5EF4-FFF2-40B4-BE49-F238E27FC236}">
                <a16:creationId xmlns:a16="http://schemas.microsoft.com/office/drawing/2014/main" id="{9911DE1E-9103-5EC9-3B26-253AA1BE1161}"/>
              </a:ext>
            </a:extLst>
          </p:cNvPr>
          <p:cNvSpPr/>
          <p:nvPr/>
        </p:nvSpPr>
        <p:spPr>
          <a:xfrm>
            <a:off x="4701804" y="2192678"/>
            <a:ext cx="983190" cy="512233"/>
          </a:xfrm>
          <a:prstGeom prst="can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nvoic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A94D7CC-B4D7-BBBF-1538-EB3470493691}"/>
              </a:ext>
            </a:extLst>
          </p:cNvPr>
          <p:cNvSpPr/>
          <p:nvPr/>
        </p:nvSpPr>
        <p:spPr>
          <a:xfrm>
            <a:off x="6326865" y="1845812"/>
            <a:ext cx="1033280" cy="951464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Archive</a:t>
            </a:r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F761BA46-A627-5D2E-03AD-98DB6E7DF8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12570" y="2256462"/>
            <a:ext cx="385870" cy="385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BF1BA94C-6065-8243-1F2F-98D216B32A39}"/>
              </a:ext>
            </a:extLst>
          </p:cNvPr>
          <p:cNvSpPr/>
          <p:nvPr/>
        </p:nvSpPr>
        <p:spPr>
          <a:xfrm>
            <a:off x="7804895" y="6178121"/>
            <a:ext cx="305956" cy="150457"/>
          </a:xfrm>
          <a:prstGeom prst="rect">
            <a:avLst/>
          </a:prstGeom>
          <a:noFill/>
          <a:ln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25120EF-C636-712D-6C49-B3FF4E3685B4}"/>
              </a:ext>
            </a:extLst>
          </p:cNvPr>
          <p:cNvSpPr txBox="1"/>
          <p:nvPr/>
        </p:nvSpPr>
        <p:spPr>
          <a:xfrm>
            <a:off x="8170347" y="6178121"/>
            <a:ext cx="92952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Hypatos clou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ABE66DD-3CAA-16B3-6050-D2DDA95CFA59}"/>
              </a:ext>
            </a:extLst>
          </p:cNvPr>
          <p:cNvSpPr/>
          <p:nvPr/>
        </p:nvSpPr>
        <p:spPr>
          <a:xfrm>
            <a:off x="7804895" y="6513404"/>
            <a:ext cx="305956" cy="15045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CDA550D-20A0-0821-822F-7C19433BDDB3}"/>
              </a:ext>
            </a:extLst>
          </p:cNvPr>
          <p:cNvSpPr txBox="1"/>
          <p:nvPr/>
        </p:nvSpPr>
        <p:spPr>
          <a:xfrm>
            <a:off x="8170347" y="6532860"/>
            <a:ext cx="86255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E.ON premis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BCE86F2-C50A-5384-8867-4E2DDDA900F4}"/>
              </a:ext>
            </a:extLst>
          </p:cNvPr>
          <p:cNvSpPr txBox="1"/>
          <p:nvPr/>
        </p:nvSpPr>
        <p:spPr>
          <a:xfrm>
            <a:off x="1938499" y="6212927"/>
            <a:ext cx="3837691" cy="512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1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0000500000000000000" pitchFamily="2" charset="0"/>
                <a:hlinkClick r:id="rId10"/>
              </a:rPr>
              <a:t>https://docs.hypatos.ai/user-guide/document-upload/email-service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0000500000000000000" pitchFamily="2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0000500000000000000" pitchFamily="2" charset="0"/>
              </a:rPr>
              <a:t>2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0000500000000000000" pitchFamily="2" charset="0"/>
              </a:rPr>
              <a:t>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0000500000000000000" pitchFamily="2" charset="0"/>
                <a:hlinkClick r:id="rId11"/>
              </a:rPr>
              <a:t>https://hypatos.redoc.ly/#section/Introductio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0000500000000000000" pitchFamily="2" charset="0"/>
              </a:rPr>
              <a:t>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0000500000000000000" pitchFamily="2" charset="0"/>
            </a:endParaRPr>
          </a:p>
          <a:p>
            <a:pPr>
              <a:spcAft>
                <a:spcPts val="200"/>
              </a:spcAft>
              <a:defRPr/>
            </a:pPr>
            <a:r>
              <a:rPr kumimoji="0" lang="en-GB" sz="8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0000500000000000000" pitchFamily="2" charset="0"/>
              </a:rPr>
              <a:t>3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anose="00000500000000000000" pitchFamily="2" charset="0"/>
                <a:hlinkClick r:id="rId12"/>
              </a:rPr>
              <a:t>https://docs.hypatos.ai/integrations/sap-integration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anose="00000500000000000000" pitchFamily="2" charset="0"/>
              </a:rPr>
              <a:t>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5080C61-5E7E-C6A6-EF78-836D425C69C8}"/>
              </a:ext>
            </a:extLst>
          </p:cNvPr>
          <p:cNvSpPr/>
          <p:nvPr/>
        </p:nvSpPr>
        <p:spPr>
          <a:xfrm>
            <a:off x="3129024" y="2255754"/>
            <a:ext cx="1031614" cy="3853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FFFFFF"/>
                </a:solidFill>
                <a:latin typeface="Lato" panose="020F0502020204030203" pitchFamily="34" charset="0"/>
              </a:rPr>
              <a:t>Function Module: Create invoic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14B700E-FD08-9A4B-4CCA-739394DB5EB8}"/>
              </a:ext>
            </a:extLst>
          </p:cNvPr>
          <p:cNvGrpSpPr/>
          <p:nvPr/>
        </p:nvGrpSpPr>
        <p:grpSpPr>
          <a:xfrm>
            <a:off x="4876748" y="4711591"/>
            <a:ext cx="1703465" cy="1131440"/>
            <a:chOff x="4214988" y="4711591"/>
            <a:chExt cx="1703465" cy="1131440"/>
          </a:xfrm>
        </p:grpSpPr>
        <p:sp>
          <p:nvSpPr>
            <p:cNvPr id="32" name="Abgerundetes Rechteck 72">
              <a:extLst>
                <a:ext uri="{FF2B5EF4-FFF2-40B4-BE49-F238E27FC236}">
                  <a16:creationId xmlns:a16="http://schemas.microsoft.com/office/drawing/2014/main" id="{7B868979-DFE6-8639-C5C3-A51AB4863510}"/>
                </a:ext>
              </a:extLst>
            </p:cNvPr>
            <p:cNvSpPr/>
            <p:nvPr/>
          </p:nvSpPr>
          <p:spPr>
            <a:xfrm>
              <a:off x="4221454" y="4711591"/>
              <a:ext cx="773867" cy="486951"/>
            </a:xfrm>
            <a:prstGeom prst="roundRect">
              <a:avLst>
                <a:gd name="adj" fmla="val 5991"/>
              </a:avLst>
            </a:prstGeom>
            <a:solidFill>
              <a:schemeClr val="accent4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+mn-cs"/>
                </a:rPr>
                <a:t>Extract</a:t>
              </a:r>
            </a:p>
          </p:txBody>
        </p:sp>
        <p:sp>
          <p:nvSpPr>
            <p:cNvPr id="33" name="Abgerundetes Rechteck 72">
              <a:extLst>
                <a:ext uri="{FF2B5EF4-FFF2-40B4-BE49-F238E27FC236}">
                  <a16:creationId xmlns:a16="http://schemas.microsoft.com/office/drawing/2014/main" id="{138B8E64-5670-8D96-2AA5-B3D096B0B027}"/>
                </a:ext>
              </a:extLst>
            </p:cNvPr>
            <p:cNvSpPr/>
            <p:nvPr/>
          </p:nvSpPr>
          <p:spPr>
            <a:xfrm>
              <a:off x="5144586" y="4711591"/>
              <a:ext cx="773867" cy="486951"/>
            </a:xfrm>
            <a:prstGeom prst="roundRect">
              <a:avLst>
                <a:gd name="adj" fmla="val 5991"/>
              </a:avLst>
            </a:prstGeom>
            <a:solidFill>
              <a:schemeClr val="accent4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+mn-cs"/>
                </a:rPr>
                <a:t>Enrich</a:t>
              </a:r>
              <a:endPara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34" name="Abgerundetes Rechteck 72">
              <a:extLst>
                <a:ext uri="{FF2B5EF4-FFF2-40B4-BE49-F238E27FC236}">
                  <a16:creationId xmlns:a16="http://schemas.microsoft.com/office/drawing/2014/main" id="{10EAE7F7-B393-F0C7-0BF0-921753AF2436}"/>
                </a:ext>
              </a:extLst>
            </p:cNvPr>
            <p:cNvSpPr/>
            <p:nvPr/>
          </p:nvSpPr>
          <p:spPr>
            <a:xfrm>
              <a:off x="4214988" y="5356080"/>
              <a:ext cx="773867" cy="486951"/>
            </a:xfrm>
            <a:prstGeom prst="roundRect">
              <a:avLst>
                <a:gd name="adj" fmla="val 5991"/>
              </a:avLst>
            </a:prstGeom>
            <a:solidFill>
              <a:schemeClr val="accent4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+mn-cs"/>
                </a:rPr>
                <a:t>Complete</a:t>
              </a:r>
              <a:endPara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35" name="Abgerundetes Rechteck 72">
              <a:extLst>
                <a:ext uri="{FF2B5EF4-FFF2-40B4-BE49-F238E27FC236}">
                  <a16:creationId xmlns:a16="http://schemas.microsoft.com/office/drawing/2014/main" id="{8A62846F-47A9-D5B0-436E-9E7B7155E48F}"/>
                </a:ext>
              </a:extLst>
            </p:cNvPr>
            <p:cNvSpPr/>
            <p:nvPr/>
          </p:nvSpPr>
          <p:spPr>
            <a:xfrm>
              <a:off x="5144586" y="5356080"/>
              <a:ext cx="773867" cy="486951"/>
            </a:xfrm>
            <a:prstGeom prst="roundRect">
              <a:avLst>
                <a:gd name="adj" fmla="val 5991"/>
              </a:avLst>
            </a:prstGeom>
            <a:solidFill>
              <a:schemeClr val="accent4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+mn-cs"/>
                </a:rPr>
                <a:t>Validate</a:t>
              </a:r>
              <a:endPara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endParaRPr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99B432D5-618D-788E-44A3-33B2FA62B8AD}"/>
                </a:ext>
              </a:extLst>
            </p:cNvPr>
            <p:cNvCxnSpPr>
              <a:stCxn id="32" idx="3"/>
              <a:endCxn id="33" idx="1"/>
            </p:cNvCxnSpPr>
            <p:nvPr/>
          </p:nvCxnSpPr>
          <p:spPr>
            <a:xfrm>
              <a:off x="4995321" y="4955067"/>
              <a:ext cx="149265" cy="0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CE93B578-2D91-907B-4E92-AACCEDBB8E2B}"/>
                </a:ext>
              </a:extLst>
            </p:cNvPr>
            <p:cNvCxnSpPr>
              <a:cxnSpLocks/>
              <a:stCxn id="33" idx="2"/>
              <a:endCxn id="35" idx="0"/>
            </p:cNvCxnSpPr>
            <p:nvPr/>
          </p:nvCxnSpPr>
          <p:spPr>
            <a:xfrm>
              <a:off x="5531520" y="5198542"/>
              <a:ext cx="0" cy="157538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967D9916-4DA9-3F33-EF7E-DFC3207AC3F2}"/>
                </a:ext>
              </a:extLst>
            </p:cNvPr>
            <p:cNvCxnSpPr>
              <a:cxnSpLocks/>
              <a:stCxn id="35" idx="1"/>
              <a:endCxn id="34" idx="3"/>
            </p:cNvCxnSpPr>
            <p:nvPr/>
          </p:nvCxnSpPr>
          <p:spPr>
            <a:xfrm flipH="1">
              <a:off x="4988855" y="5599556"/>
              <a:ext cx="155731" cy="0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DA46FF1B-C8EB-3FC3-7557-16988AAE761F}"/>
              </a:ext>
            </a:extLst>
          </p:cNvPr>
          <p:cNvSpPr/>
          <p:nvPr/>
        </p:nvSpPr>
        <p:spPr>
          <a:xfrm>
            <a:off x="437730" y="4238444"/>
            <a:ext cx="80026" cy="1162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7D449AB-4369-EB3E-B120-B1DD370680F6}"/>
              </a:ext>
            </a:extLst>
          </p:cNvPr>
          <p:cNvSpPr/>
          <p:nvPr/>
        </p:nvSpPr>
        <p:spPr>
          <a:xfrm>
            <a:off x="9717935" y="1609767"/>
            <a:ext cx="2183869" cy="38723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45720" rIns="91440" bIns="4572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ypatos SAP Connector periodically collects master, PO and posting data (including archive images for initial model training) required for master data enrichment and attribute prediction in Hypatos Studi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Retrieved data is sent to Hypatos cloud via Hypatos REST AP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mailed and scanned invoices are inserted into Hypatos Studio for process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ypatos Studio extracts, enriches and completes the docu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ypatos SAP Connector regularly calls Hypatos REST API to fetch document data and invoice image from Hypatos Studi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ypatos SAP Connector calls SAP BADI implementation passing in and mapping document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ADI implementation calls VIM function module for creation and archiving of invoice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8C726B3C-9E24-72C1-D46C-10ED9207FF6C}"/>
              </a:ext>
            </a:extLst>
          </p:cNvPr>
          <p:cNvSpPr/>
          <p:nvPr/>
        </p:nvSpPr>
        <p:spPr>
          <a:xfrm>
            <a:off x="9781027" y="1682785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EBE874B8-7CD0-DD06-7607-675E970EC3C4}"/>
              </a:ext>
            </a:extLst>
          </p:cNvPr>
          <p:cNvSpPr/>
          <p:nvPr/>
        </p:nvSpPr>
        <p:spPr>
          <a:xfrm>
            <a:off x="9781027" y="3031800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7E1A30E9-D8AD-9EB2-BDD1-98839A4028A6}"/>
              </a:ext>
            </a:extLst>
          </p:cNvPr>
          <p:cNvSpPr/>
          <p:nvPr/>
        </p:nvSpPr>
        <p:spPr>
          <a:xfrm>
            <a:off x="9779574" y="3514277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F5071504-2BFE-368C-141B-C0B690507E09}"/>
              </a:ext>
            </a:extLst>
          </p:cNvPr>
          <p:cNvSpPr/>
          <p:nvPr/>
        </p:nvSpPr>
        <p:spPr>
          <a:xfrm>
            <a:off x="9779574" y="3872746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5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B470EE8C-1B0C-608E-971C-919933A298B8}"/>
              </a:ext>
            </a:extLst>
          </p:cNvPr>
          <p:cNvSpPr/>
          <p:nvPr/>
        </p:nvSpPr>
        <p:spPr>
          <a:xfrm>
            <a:off x="9779574" y="4498495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6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FAA3AD37-33BD-813B-A007-3802F8D3D834}"/>
              </a:ext>
            </a:extLst>
          </p:cNvPr>
          <p:cNvSpPr/>
          <p:nvPr/>
        </p:nvSpPr>
        <p:spPr>
          <a:xfrm>
            <a:off x="9779062" y="5000888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7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2C106F0C-9DB3-D108-F71C-19E826DC817F}"/>
              </a:ext>
            </a:extLst>
          </p:cNvPr>
          <p:cNvSpPr/>
          <p:nvPr/>
        </p:nvSpPr>
        <p:spPr>
          <a:xfrm>
            <a:off x="5980299" y="3595669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5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DAD2A69-3DF2-817C-1B36-0955DC8BA6FD}"/>
              </a:ext>
            </a:extLst>
          </p:cNvPr>
          <p:cNvSpPr/>
          <p:nvPr/>
        </p:nvSpPr>
        <p:spPr>
          <a:xfrm>
            <a:off x="3119704" y="3032506"/>
            <a:ext cx="1040934" cy="22911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BADI implementation</a:t>
            </a:r>
            <a:endParaRPr kumimoji="0" lang="en-GB" sz="8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1B9FCDA-8A8F-9D30-6A72-129B79B9A734}"/>
              </a:ext>
            </a:extLst>
          </p:cNvPr>
          <p:cNvSpPr/>
          <p:nvPr/>
        </p:nvSpPr>
        <p:spPr>
          <a:xfrm>
            <a:off x="437730" y="4238444"/>
            <a:ext cx="80026" cy="1162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95086DE-2A13-9CD6-1A38-FF79ACD6824A}"/>
              </a:ext>
            </a:extLst>
          </p:cNvPr>
          <p:cNvSpPr/>
          <p:nvPr/>
        </p:nvSpPr>
        <p:spPr>
          <a:xfrm>
            <a:off x="4622475" y="4761597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C1EE6677-8F93-8BD3-7689-BB1581ED63D9}"/>
              </a:ext>
            </a:extLst>
          </p:cNvPr>
          <p:cNvSpPr/>
          <p:nvPr/>
        </p:nvSpPr>
        <p:spPr>
          <a:xfrm>
            <a:off x="4013584" y="2954683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6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82C95DB-F256-B5DA-DCDA-8E0F8C7F55FC}"/>
              </a:ext>
            </a:extLst>
          </p:cNvPr>
          <p:cNvSpPr/>
          <p:nvPr/>
        </p:nvSpPr>
        <p:spPr>
          <a:xfrm>
            <a:off x="3311495" y="4426882"/>
            <a:ext cx="4048607" cy="227813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Hypatos REST API</a:t>
            </a: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2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4" name="Rectangle: Rounded Corners 106">
            <a:extLst>
              <a:ext uri="{FF2B5EF4-FFF2-40B4-BE49-F238E27FC236}">
                <a16:creationId xmlns:a16="http://schemas.microsoft.com/office/drawing/2014/main" id="{40A859D7-271F-5E51-151E-61149399E637}"/>
              </a:ext>
            </a:extLst>
          </p:cNvPr>
          <p:cNvSpPr/>
          <p:nvPr/>
        </p:nvSpPr>
        <p:spPr>
          <a:xfrm>
            <a:off x="1069010" y="3399256"/>
            <a:ext cx="862757" cy="181703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Email Inbox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B6D2D46-BFE6-48C3-8910-58B8CA735411}"/>
              </a:ext>
            </a:extLst>
          </p:cNvPr>
          <p:cNvSpPr txBox="1"/>
          <p:nvPr/>
        </p:nvSpPr>
        <p:spPr>
          <a:xfrm>
            <a:off x="1509791" y="2734377"/>
            <a:ext cx="1036314" cy="3094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aper based invoices (scanned)</a:t>
            </a:r>
          </a:p>
        </p:txBody>
      </p:sp>
      <p:cxnSp>
        <p:nvCxnSpPr>
          <p:cNvPr id="56" name="Connector: Elbow 213">
            <a:extLst>
              <a:ext uri="{FF2B5EF4-FFF2-40B4-BE49-F238E27FC236}">
                <a16:creationId xmlns:a16="http://schemas.microsoft.com/office/drawing/2014/main" id="{A5606946-6710-DD10-7064-D685F1284488}"/>
              </a:ext>
            </a:extLst>
          </p:cNvPr>
          <p:cNvCxnSpPr>
            <a:cxnSpLocks/>
            <a:stCxn id="55" idx="2"/>
            <a:endCxn id="54" idx="0"/>
          </p:cNvCxnSpPr>
          <p:nvPr/>
        </p:nvCxnSpPr>
        <p:spPr>
          <a:xfrm rot="5400000">
            <a:off x="1586458" y="2957766"/>
            <a:ext cx="355422" cy="527559"/>
          </a:xfrm>
          <a:prstGeom prst="bentConnector3">
            <a:avLst>
              <a:gd name="adj1" fmla="val 50000"/>
            </a:avLst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57" name="Connector: Elbow 105">
            <a:extLst>
              <a:ext uri="{FF2B5EF4-FFF2-40B4-BE49-F238E27FC236}">
                <a16:creationId xmlns:a16="http://schemas.microsoft.com/office/drawing/2014/main" id="{9E330B16-876D-A4AC-9B2C-DBBC77885647}"/>
              </a:ext>
            </a:extLst>
          </p:cNvPr>
          <p:cNvCxnSpPr>
            <a:cxnSpLocks/>
            <a:endCxn id="54" idx="0"/>
          </p:cNvCxnSpPr>
          <p:nvPr/>
        </p:nvCxnSpPr>
        <p:spPr>
          <a:xfrm rot="16200000" flipH="1">
            <a:off x="1108783" y="3007649"/>
            <a:ext cx="356257" cy="426955"/>
          </a:xfrm>
          <a:prstGeom prst="bentConnector3">
            <a:avLst>
              <a:gd name="adj1" fmla="val 50000"/>
            </a:avLst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58" name="Graphic 306" descr="Photocopier with solid fill">
            <a:extLst>
              <a:ext uri="{FF2B5EF4-FFF2-40B4-BE49-F238E27FC236}">
                <a16:creationId xmlns:a16="http://schemas.microsoft.com/office/drawing/2014/main" id="{ED5CC547-6F28-E79F-B375-1986AC0041C8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780227" y="2345421"/>
            <a:ext cx="364766" cy="364766"/>
          </a:xfrm>
          <a:prstGeom prst="rect">
            <a:avLst/>
          </a:prstGeom>
        </p:spPr>
      </p:pic>
      <p:sp>
        <p:nvSpPr>
          <p:cNvPr id="59" name="Rectangle: Rounded Corners 133">
            <a:extLst>
              <a:ext uri="{FF2B5EF4-FFF2-40B4-BE49-F238E27FC236}">
                <a16:creationId xmlns:a16="http://schemas.microsoft.com/office/drawing/2014/main" id="{E05552A6-4045-C332-2BAA-51350BDC7AA4}"/>
              </a:ext>
            </a:extLst>
          </p:cNvPr>
          <p:cNvSpPr/>
          <p:nvPr/>
        </p:nvSpPr>
        <p:spPr>
          <a:xfrm>
            <a:off x="921838" y="4676969"/>
            <a:ext cx="1157099" cy="183790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 w="9525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Email Service</a:t>
            </a: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1</a:t>
            </a:r>
          </a:p>
        </p:txBody>
      </p:sp>
      <p:pic>
        <p:nvPicPr>
          <p:cNvPr id="60" name="Picture 6" descr="PDF File - Free interface icons">
            <a:extLst>
              <a:ext uri="{FF2B5EF4-FFF2-40B4-BE49-F238E27FC236}">
                <a16:creationId xmlns:a16="http://schemas.microsoft.com/office/drawing/2014/main" id="{DB6C2F93-E0DD-761E-8555-144B2D9DF7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054" y="2345421"/>
            <a:ext cx="337379" cy="337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ED11E236-F35C-F915-2A84-D192ABDD68BF}"/>
              </a:ext>
            </a:extLst>
          </p:cNvPr>
          <p:cNvSpPr txBox="1"/>
          <p:nvPr/>
        </p:nvSpPr>
        <p:spPr>
          <a:xfrm>
            <a:off x="709627" y="2734377"/>
            <a:ext cx="726442" cy="3094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Emailed invoices</a:t>
            </a: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14661639-E0FF-CC1D-461C-627EF0DA9D00}"/>
              </a:ext>
            </a:extLst>
          </p:cNvPr>
          <p:cNvCxnSpPr>
            <a:cxnSpLocks/>
            <a:stCxn id="54" idx="2"/>
            <a:endCxn id="59" idx="0"/>
          </p:cNvCxnSpPr>
          <p:nvPr/>
        </p:nvCxnSpPr>
        <p:spPr>
          <a:xfrm flipH="1">
            <a:off x="1500388" y="3580959"/>
            <a:ext cx="1" cy="10960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52056404-FDB8-514D-E0B8-391F70233D23}"/>
              </a:ext>
            </a:extLst>
          </p:cNvPr>
          <p:cNvCxnSpPr>
            <a:cxnSpLocks/>
            <a:stCxn id="74" idx="1"/>
            <a:endCxn id="48" idx="3"/>
          </p:cNvCxnSpPr>
          <p:nvPr/>
        </p:nvCxnSpPr>
        <p:spPr>
          <a:xfrm flipH="1" flipV="1">
            <a:off x="4160638" y="3147065"/>
            <a:ext cx="769324" cy="7022"/>
          </a:xfrm>
          <a:prstGeom prst="straightConnector1">
            <a:avLst/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64" name="Connector: Elbow 213">
            <a:extLst>
              <a:ext uri="{FF2B5EF4-FFF2-40B4-BE49-F238E27FC236}">
                <a16:creationId xmlns:a16="http://schemas.microsoft.com/office/drawing/2014/main" id="{61C1A372-7C67-3F19-7CBB-8E866E628FFC}"/>
              </a:ext>
            </a:extLst>
          </p:cNvPr>
          <p:cNvCxnSpPr>
            <a:cxnSpLocks/>
            <a:stCxn id="13" idx="3"/>
            <a:endCxn id="74" idx="3"/>
          </p:cNvCxnSpPr>
          <p:nvPr/>
        </p:nvCxnSpPr>
        <p:spPr>
          <a:xfrm rot="5400000">
            <a:off x="7181667" y="2142608"/>
            <a:ext cx="356810" cy="1666149"/>
          </a:xfrm>
          <a:prstGeom prst="bentConnector2">
            <a:avLst/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65" name="Connector: Elbow 213">
            <a:extLst>
              <a:ext uri="{FF2B5EF4-FFF2-40B4-BE49-F238E27FC236}">
                <a16:creationId xmlns:a16="http://schemas.microsoft.com/office/drawing/2014/main" id="{1F9E46A6-C871-AF44-8A43-C57DE42DE99B}"/>
              </a:ext>
            </a:extLst>
          </p:cNvPr>
          <p:cNvCxnSpPr>
            <a:cxnSpLocks/>
            <a:stCxn id="19" idx="4"/>
            <a:endCxn id="23" idx="1"/>
          </p:cNvCxnSpPr>
          <p:nvPr/>
        </p:nvCxnSpPr>
        <p:spPr>
          <a:xfrm>
            <a:off x="5684994" y="2448795"/>
            <a:ext cx="927576" cy="602"/>
          </a:xfrm>
          <a:prstGeom prst="bentConnector3">
            <a:avLst>
              <a:gd name="adj1" fmla="val 50000"/>
            </a:avLst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6CFD92DA-CDC1-21BE-588D-D1A7EFF27AC6}"/>
              </a:ext>
            </a:extLst>
          </p:cNvPr>
          <p:cNvSpPr/>
          <p:nvPr/>
        </p:nvSpPr>
        <p:spPr>
          <a:xfrm>
            <a:off x="9783770" y="2673047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2</a:t>
            </a:r>
          </a:p>
        </p:txBody>
      </p:sp>
      <p:cxnSp>
        <p:nvCxnSpPr>
          <p:cNvPr id="67" name="Connector: Elbow 213">
            <a:extLst>
              <a:ext uri="{FF2B5EF4-FFF2-40B4-BE49-F238E27FC236}">
                <a16:creationId xmlns:a16="http://schemas.microsoft.com/office/drawing/2014/main" id="{527BD465-7C9B-A9FC-77D8-8A83257E962E}"/>
              </a:ext>
            </a:extLst>
          </p:cNvPr>
          <p:cNvCxnSpPr>
            <a:cxnSpLocks/>
            <a:stCxn id="59" idx="2"/>
            <a:endCxn id="10" idx="1"/>
          </p:cNvCxnSpPr>
          <p:nvPr/>
        </p:nvCxnSpPr>
        <p:spPr>
          <a:xfrm rot="16200000" flipH="1">
            <a:off x="2206412" y="4154734"/>
            <a:ext cx="399058" cy="1811107"/>
          </a:xfrm>
          <a:prstGeom prst="bentConnector2">
            <a:avLst/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4B42B5AD-8752-1099-FB03-2510AD903F7B}"/>
              </a:ext>
            </a:extLst>
          </p:cNvPr>
          <p:cNvCxnSpPr>
            <a:cxnSpLocks/>
          </p:cNvCxnSpPr>
          <p:nvPr/>
        </p:nvCxnSpPr>
        <p:spPr>
          <a:xfrm>
            <a:off x="5269858" y="3345919"/>
            <a:ext cx="289" cy="1056016"/>
          </a:xfrm>
          <a:prstGeom prst="straightConnector1">
            <a:avLst/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EB4206E6-2B10-AA87-8FFF-ABE7D87FC08A}"/>
              </a:ext>
            </a:extLst>
          </p:cNvPr>
          <p:cNvCxnSpPr>
            <a:cxnSpLocks/>
            <a:stCxn id="48" idx="0"/>
            <a:endCxn id="30" idx="2"/>
          </p:cNvCxnSpPr>
          <p:nvPr/>
        </p:nvCxnSpPr>
        <p:spPr>
          <a:xfrm flipV="1">
            <a:off x="3640171" y="2641085"/>
            <a:ext cx="4660" cy="391421"/>
          </a:xfrm>
          <a:prstGeom prst="straightConnector1">
            <a:avLst/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73" name="Connector: Elbow 213">
            <a:extLst>
              <a:ext uri="{FF2B5EF4-FFF2-40B4-BE49-F238E27FC236}">
                <a16:creationId xmlns:a16="http://schemas.microsoft.com/office/drawing/2014/main" id="{B794B5F1-DD10-1DF8-AB4F-BB8B14735C67}"/>
              </a:ext>
            </a:extLst>
          </p:cNvPr>
          <p:cNvCxnSpPr>
            <a:cxnSpLocks/>
            <a:stCxn id="30" idx="3"/>
            <a:endCxn id="19" idx="2"/>
          </p:cNvCxnSpPr>
          <p:nvPr/>
        </p:nvCxnSpPr>
        <p:spPr>
          <a:xfrm>
            <a:off x="4160638" y="2448420"/>
            <a:ext cx="541166" cy="375"/>
          </a:xfrm>
          <a:prstGeom prst="bentConnector3">
            <a:avLst>
              <a:gd name="adj1" fmla="val 50000"/>
            </a:avLst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74" name="Rectangle 73">
            <a:extLst>
              <a:ext uri="{FF2B5EF4-FFF2-40B4-BE49-F238E27FC236}">
                <a16:creationId xmlns:a16="http://schemas.microsoft.com/office/drawing/2014/main" id="{DA4D8507-D353-A127-8A5C-A84A6CBB0B73}"/>
              </a:ext>
            </a:extLst>
          </p:cNvPr>
          <p:cNvSpPr/>
          <p:nvPr/>
        </p:nvSpPr>
        <p:spPr>
          <a:xfrm>
            <a:off x="4929962" y="2961121"/>
            <a:ext cx="1597035" cy="3859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Hypatos SAP Connector</a:t>
            </a:r>
            <a:r>
              <a:rPr kumimoji="0" lang="en-GB" sz="8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3</a:t>
            </a:r>
          </a:p>
        </p:txBody>
      </p: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862FBA74-66F8-3C28-0BBC-A736FB1AD43B}"/>
              </a:ext>
            </a:extLst>
          </p:cNvPr>
          <p:cNvCxnSpPr>
            <a:cxnSpLocks/>
          </p:cNvCxnSpPr>
          <p:nvPr/>
        </p:nvCxnSpPr>
        <p:spPr>
          <a:xfrm flipV="1">
            <a:off x="6218513" y="3353384"/>
            <a:ext cx="289" cy="1056016"/>
          </a:xfrm>
          <a:prstGeom prst="straightConnector1">
            <a:avLst/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76" name="Oval 75">
            <a:extLst>
              <a:ext uri="{FF2B5EF4-FFF2-40B4-BE49-F238E27FC236}">
                <a16:creationId xmlns:a16="http://schemas.microsoft.com/office/drawing/2014/main" id="{0BBFE402-DAD6-AA05-92D4-00FA799AD2C6}"/>
              </a:ext>
            </a:extLst>
          </p:cNvPr>
          <p:cNvSpPr/>
          <p:nvPr/>
        </p:nvSpPr>
        <p:spPr>
          <a:xfrm>
            <a:off x="6894356" y="2949234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A807012D-4685-2C45-139A-3123F89191E5}"/>
              </a:ext>
            </a:extLst>
          </p:cNvPr>
          <p:cNvSpPr/>
          <p:nvPr/>
        </p:nvSpPr>
        <p:spPr>
          <a:xfrm>
            <a:off x="5067253" y="3478841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2C5C7ED7-3219-BD9C-AF6B-0314DDF3B817}"/>
              </a:ext>
            </a:extLst>
          </p:cNvPr>
          <p:cNvSpPr/>
          <p:nvPr/>
        </p:nvSpPr>
        <p:spPr>
          <a:xfrm>
            <a:off x="1934636" y="4475786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00058D19-2C86-7CA8-D8F4-2CC9F9224ADC}"/>
              </a:ext>
            </a:extLst>
          </p:cNvPr>
          <p:cNvSpPr/>
          <p:nvPr/>
        </p:nvSpPr>
        <p:spPr>
          <a:xfrm>
            <a:off x="4014960" y="2167002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7</a:t>
            </a:r>
          </a:p>
        </p:txBody>
      </p:sp>
      <p:cxnSp>
        <p:nvCxnSpPr>
          <p:cNvPr id="80" name="Connector: Elbow 213">
            <a:extLst>
              <a:ext uri="{FF2B5EF4-FFF2-40B4-BE49-F238E27FC236}">
                <a16:creationId xmlns:a16="http://schemas.microsoft.com/office/drawing/2014/main" id="{5FEA62C5-88DB-950A-B371-908E4CE2CDA4}"/>
              </a:ext>
            </a:extLst>
          </p:cNvPr>
          <p:cNvCxnSpPr>
            <a:cxnSpLocks/>
            <a:stCxn id="23" idx="2"/>
            <a:endCxn id="74" idx="3"/>
          </p:cNvCxnSpPr>
          <p:nvPr/>
        </p:nvCxnSpPr>
        <p:spPr>
          <a:xfrm rot="5400000">
            <a:off x="6410374" y="2758955"/>
            <a:ext cx="511755" cy="278508"/>
          </a:xfrm>
          <a:prstGeom prst="bentConnector2">
            <a:avLst/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81" name="Picture 80">
            <a:extLst>
              <a:ext uri="{FF2B5EF4-FFF2-40B4-BE49-F238E27FC236}">
                <a16:creationId xmlns:a16="http://schemas.microsoft.com/office/drawing/2014/main" id="{0F2CEC5B-EF81-BB37-3A5F-94A7CEEA035B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t="11592"/>
          <a:stretch/>
        </p:blipFill>
        <p:spPr>
          <a:xfrm>
            <a:off x="3361008" y="4719591"/>
            <a:ext cx="754062" cy="251079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8582D6A5-5864-4A61-FAED-095EDBAC1A5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395550" y="3415888"/>
            <a:ext cx="167390" cy="167390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05EFD63B-68F6-9DDA-C9EB-27F5E49E534E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613868" y="3413569"/>
            <a:ext cx="167390" cy="167390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290D1BE7-9435-47C7-4586-787A1D7F3669}"/>
              </a:ext>
            </a:extLst>
          </p:cNvPr>
          <p:cNvSpPr txBox="1"/>
          <p:nvPr/>
        </p:nvSpPr>
        <p:spPr>
          <a:xfrm>
            <a:off x="6263090" y="3596480"/>
            <a:ext cx="14477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ocument</a:t>
            </a: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kumimoji="0" lang="de-DE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ata</a:t>
            </a: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and </a:t>
            </a:r>
            <a:r>
              <a:rPr kumimoji="0" lang="de-DE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ocument</a:t>
            </a: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kumimoji="0" lang="de-DE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mage</a:t>
            </a:r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D2973A-0CA7-C499-E588-42AA75971E11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l="5237" t="26268" b="21717"/>
          <a:stretch/>
        </p:blipFill>
        <p:spPr>
          <a:xfrm>
            <a:off x="4312869" y="1886461"/>
            <a:ext cx="631793" cy="260087"/>
          </a:xfrm>
          <a:prstGeom prst="rect">
            <a:avLst/>
          </a:prstGeom>
        </p:spPr>
      </p:pic>
      <p:sp>
        <p:nvSpPr>
          <p:cNvPr id="14" name="Cím 1">
            <a:extLst>
              <a:ext uri="{FF2B5EF4-FFF2-40B4-BE49-F238E27FC236}">
                <a16:creationId xmlns:a16="http://schemas.microsoft.com/office/drawing/2014/main" id="{07E36D94-A723-8D65-D4B6-01F76FAF3250}"/>
              </a:ext>
            </a:extLst>
          </p:cNvPr>
          <p:cNvSpPr txBox="1">
            <a:spLocks/>
          </p:cNvSpPr>
          <p:nvPr/>
        </p:nvSpPr>
        <p:spPr>
          <a:xfrm>
            <a:off x="407988" y="963466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/>
                <a:ea typeface="+mj-ea"/>
                <a:cs typeface="+mj-cs"/>
              </a:rPr>
              <a:t>OpenText Integration blueprint for E.ON via SAP Add-on</a:t>
            </a: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itchFamily="2" charset="0"/>
              <a:ea typeface="+mj-ea"/>
              <a:cs typeface="+mj-cs"/>
            </a:endParaRPr>
          </a:p>
        </p:txBody>
      </p:sp>
      <p:sp>
        <p:nvSpPr>
          <p:cNvPr id="15" name="Tartalom helye 4">
            <a:extLst>
              <a:ext uri="{FF2B5EF4-FFF2-40B4-BE49-F238E27FC236}">
                <a16:creationId xmlns:a16="http://schemas.microsoft.com/office/drawing/2014/main" id="{DBE3D32C-BCDB-D27D-CEDC-3631B4427B17}"/>
              </a:ext>
            </a:extLst>
          </p:cNvPr>
          <p:cNvSpPr txBox="1">
            <a:spLocks/>
          </p:cNvSpPr>
          <p:nvPr/>
        </p:nvSpPr>
        <p:spPr>
          <a:xfrm>
            <a:off x="407987" y="432176"/>
            <a:ext cx="11341099" cy="391374"/>
          </a:xfrm>
          <a:prstGeom prst="rect">
            <a:avLst/>
          </a:prstGeom>
        </p:spPr>
        <p:txBody>
          <a:bodyPr lIns="0" anchor="ctr"/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>
                <a:srgbClr val="FF005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197FF"/>
                </a:solidFill>
              </a:rPr>
              <a:t>Technical Infrastructure Overview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7197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pic>
        <p:nvPicPr>
          <p:cNvPr id="17" name="Picture 16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D83F2C81-A416-3271-CC37-E0CA01094D6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560" y="1522040"/>
            <a:ext cx="604988" cy="609866"/>
          </a:xfrm>
          <a:prstGeom prst="rect">
            <a:avLst/>
          </a:prstGeom>
        </p:spPr>
      </p:pic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0534B702-5DF6-39E9-DAA0-E7DDB4E1D8A2}"/>
              </a:ext>
            </a:extLst>
          </p:cNvPr>
          <p:cNvSpPr/>
          <p:nvPr/>
        </p:nvSpPr>
        <p:spPr>
          <a:xfrm>
            <a:off x="11134531" y="59858"/>
            <a:ext cx="1004788" cy="391374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Focus</a:t>
            </a:r>
          </a:p>
        </p:txBody>
      </p:sp>
    </p:spTree>
    <p:extLst>
      <p:ext uri="{BB962C8B-B14F-4D97-AF65-F5344CB8AC3E}">
        <p14:creationId xmlns:p14="http://schemas.microsoft.com/office/powerpoint/2010/main" val="20640962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FBF1CE-45BE-A081-94AE-B463F74D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BF1CE-45BE-A081-94AE-B463F74D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24802614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örszelet 4">
            <a:extLst>
              <a:ext uri="{FF2B5EF4-FFF2-40B4-BE49-F238E27FC236}">
                <a16:creationId xmlns:a16="http://schemas.microsoft.com/office/drawing/2014/main" id="{F0ABA3AB-21C6-5972-B82A-6D8841C8B84B}"/>
              </a:ext>
            </a:extLst>
          </p:cNvPr>
          <p:cNvSpPr/>
          <p:nvPr/>
        </p:nvSpPr>
        <p:spPr>
          <a:xfrm>
            <a:off x="8529401" y="2270606"/>
            <a:ext cx="4302177" cy="4302177"/>
          </a:xfrm>
          <a:prstGeom prst="chord">
            <a:avLst>
              <a:gd name="adj1" fmla="val 2700000"/>
              <a:gd name="adj2" fmla="val 18918683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15663"/>
          </a:xfrm>
        </p:spPr>
        <p:txBody>
          <a:bodyPr/>
          <a:lstStyle/>
          <a:p>
            <a:r>
              <a:rPr lang="en-US" sz="6000"/>
              <a:t>Thank you</a:t>
            </a: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9B82E006-DBE6-8376-CA1D-B3F1BE037B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55712" y="3154146"/>
            <a:ext cx="3718491" cy="3470223"/>
          </a:xfrm>
          <a:prstGeom prst="rect">
            <a:avLst/>
          </a:prstGeom>
        </p:spPr>
      </p:pic>
      <p:pic>
        <p:nvPicPr>
          <p:cNvPr id="4" name="Kép 11">
            <a:extLst>
              <a:ext uri="{FF2B5EF4-FFF2-40B4-BE49-F238E27FC236}">
                <a16:creationId xmlns:a16="http://schemas.microsoft.com/office/drawing/2014/main" id="{44F01ADD-A433-FADC-DAC6-68B8C65ECE8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0720" y="2227773"/>
            <a:ext cx="1232201" cy="1232201"/>
          </a:xfrm>
          <a:prstGeom prst="flowChartConnector">
            <a:avLst/>
          </a:prstGeom>
        </p:spPr>
      </p:pic>
      <p:sp>
        <p:nvSpPr>
          <p:cNvPr id="6" name="Rechteck 6">
            <a:extLst>
              <a:ext uri="{FF2B5EF4-FFF2-40B4-BE49-F238E27FC236}">
                <a16:creationId xmlns:a16="http://schemas.microsoft.com/office/drawing/2014/main" id="{ABB1FE78-7335-5BB2-0137-D3E75A4E2C4C}"/>
              </a:ext>
            </a:extLst>
          </p:cNvPr>
          <p:cNvSpPr/>
          <p:nvPr/>
        </p:nvSpPr>
        <p:spPr>
          <a:xfrm>
            <a:off x="368395" y="3590217"/>
            <a:ext cx="2080176" cy="1284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FF0050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Jorge Costa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0050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PS Director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>
                <a:solidFill>
                  <a:srgbClr val="030436"/>
                </a:solidFill>
                <a:latin typeface="Open Sauce One" pitchFamily="2" charset="0"/>
              </a:rPr>
              <a:t>j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orge.costa@hypatos.ai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97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pic>
        <p:nvPicPr>
          <p:cNvPr id="7" name="Kép 11">
            <a:extLst>
              <a:ext uri="{FF2B5EF4-FFF2-40B4-BE49-F238E27FC236}">
                <a16:creationId xmlns:a16="http://schemas.microsoft.com/office/drawing/2014/main" id="{554F231E-F5D2-B0A5-0441-8EFB69F192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" r="170"/>
          <a:stretch/>
        </p:blipFill>
        <p:spPr>
          <a:xfrm>
            <a:off x="5193110" y="2227773"/>
            <a:ext cx="1232202" cy="1236403"/>
          </a:xfrm>
          <a:prstGeom prst="flowChartConnector">
            <a:avLst/>
          </a:prstGeom>
        </p:spPr>
      </p:pic>
      <p:sp>
        <p:nvSpPr>
          <p:cNvPr id="8" name="Rechteck 6">
            <a:extLst>
              <a:ext uri="{FF2B5EF4-FFF2-40B4-BE49-F238E27FC236}">
                <a16:creationId xmlns:a16="http://schemas.microsoft.com/office/drawing/2014/main" id="{41205A73-C05F-8965-A211-F8BA39C69168}"/>
              </a:ext>
            </a:extLst>
          </p:cNvPr>
          <p:cNvSpPr/>
          <p:nvPr/>
        </p:nvSpPr>
        <p:spPr>
          <a:xfrm>
            <a:off x="5100785" y="3590217"/>
            <a:ext cx="2126348" cy="133081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/>
                <a:ea typeface="+mn-ea"/>
                <a:cs typeface="+mn-cs"/>
              </a:rPr>
              <a:t>Yavuz Guney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>
                <a:solidFill>
                  <a:srgbClr val="030436"/>
                </a:solidFill>
                <a:latin typeface="Open Sauce One"/>
              </a:rPr>
              <a:t>Project Manager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>
                <a:solidFill>
                  <a:srgbClr val="030436"/>
                </a:solidFill>
                <a:latin typeface="Open Sauce One" pitchFamily="2" charset="0"/>
              </a:rPr>
              <a:t>yavuz.guney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@hypatos.ai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rgbClr val="7197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pic>
        <p:nvPicPr>
          <p:cNvPr id="10" name="Kép 11">
            <a:extLst>
              <a:ext uri="{FF2B5EF4-FFF2-40B4-BE49-F238E27FC236}">
                <a16:creationId xmlns:a16="http://schemas.microsoft.com/office/drawing/2014/main" id="{2735A27F-245E-66CD-1499-16FA3BCC1B4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19634" y="2227773"/>
            <a:ext cx="1232201" cy="1232201"/>
          </a:xfrm>
          <a:prstGeom prst="flowChartConnector">
            <a:avLst/>
          </a:prstGeom>
        </p:spPr>
      </p:pic>
      <p:sp>
        <p:nvSpPr>
          <p:cNvPr id="11" name="Rechteck 6">
            <a:extLst>
              <a:ext uri="{FF2B5EF4-FFF2-40B4-BE49-F238E27FC236}">
                <a16:creationId xmlns:a16="http://schemas.microsoft.com/office/drawing/2014/main" id="{44996DD8-5F7F-4C20-72C0-D8F34FB7F19D}"/>
              </a:ext>
            </a:extLst>
          </p:cNvPr>
          <p:cNvSpPr/>
          <p:nvPr/>
        </p:nvSpPr>
        <p:spPr>
          <a:xfrm>
            <a:off x="2681137" y="3590217"/>
            <a:ext cx="2126348" cy="1284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FF0050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Ekaterina Mironova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0050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Solution Architect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>
                <a:solidFill>
                  <a:srgbClr val="030436"/>
                </a:solidFill>
                <a:latin typeface="Open Sauce One" pitchFamily="2" charset="0"/>
              </a:rPr>
              <a:t>ekaterina.mironova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@hypatos.ai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97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84293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7836E2-948B-1E12-23E2-9037FFAC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3996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ép 7">
            <a:extLst>
              <a:ext uri="{FF2B5EF4-FFF2-40B4-BE49-F238E27FC236}">
                <a16:creationId xmlns:a16="http://schemas.microsoft.com/office/drawing/2014/main" id="{2FC6A511-137E-561A-EA00-47ACECCCA6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E8C932-2A39-2005-9246-3EBF7E4A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761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1C4AAC-DF7E-B6F8-6FFC-2E25058AF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1C4AAC-DF7E-B6F8-6FFC-2E25058AF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4160796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isks – Focus on Open / In Response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4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268" y="462666"/>
            <a:ext cx="11341099" cy="391374"/>
          </a:xfrm>
        </p:spPr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7" name="Table 20">
            <a:extLst>
              <a:ext uri="{FF2B5EF4-FFF2-40B4-BE49-F238E27FC236}">
                <a16:creationId xmlns:a16="http://schemas.microsoft.com/office/drawing/2014/main" id="{1F13A2E4-818E-9DCE-8C94-2435952FC1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0084666"/>
              </p:ext>
            </p:extLst>
          </p:nvPr>
        </p:nvGraphicFramePr>
        <p:xfrm>
          <a:off x="406268" y="1604864"/>
          <a:ext cx="11342819" cy="38530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83">
                  <a:extLst>
                    <a:ext uri="{9D8B030D-6E8A-4147-A177-3AD203B41FA5}">
                      <a16:colId xmlns:a16="http://schemas.microsoft.com/office/drawing/2014/main" val="3287350630"/>
                    </a:ext>
                  </a:extLst>
                </a:gridCol>
                <a:gridCol w="773461">
                  <a:extLst>
                    <a:ext uri="{9D8B030D-6E8A-4147-A177-3AD203B41FA5}">
                      <a16:colId xmlns:a16="http://schemas.microsoft.com/office/drawing/2014/main" val="1514582785"/>
                    </a:ext>
                  </a:extLst>
                </a:gridCol>
                <a:gridCol w="471171">
                  <a:extLst>
                    <a:ext uri="{9D8B030D-6E8A-4147-A177-3AD203B41FA5}">
                      <a16:colId xmlns:a16="http://schemas.microsoft.com/office/drawing/2014/main" val="1751608001"/>
                    </a:ext>
                  </a:extLst>
                </a:gridCol>
                <a:gridCol w="2997285">
                  <a:extLst>
                    <a:ext uri="{9D8B030D-6E8A-4147-A177-3AD203B41FA5}">
                      <a16:colId xmlns:a16="http://schemas.microsoft.com/office/drawing/2014/main" val="401929430"/>
                    </a:ext>
                  </a:extLst>
                </a:gridCol>
                <a:gridCol w="662205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667651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3427179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1160802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599982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</a:tblGrid>
              <a:tr h="549578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Open a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io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Respons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11-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ata Acquisition dependent on SAP addon release and installation -  could break project timelin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EON SAP DEV Team onboarding for integration implementation. EON PM to </a:t>
                      </a:r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aise resource 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quest to the respective team and actively following up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17699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11-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Workflow integration might take more resources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iscuss Solution Design extensively and support if need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414768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ypatos x EON to revisit Integration and Project Timelines based on resource onboarding. Dependent on A001. Bi-Weekly follow ups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975530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llow a buffer for SIT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7104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DE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2024-11-08</a:t>
                      </a:r>
                      <a:endParaRPr kumimoji="0" lang="en-DE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 Matching config and ML Training takes more resources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hedule a session with HY SAP and Product Team to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29735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DE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2024-11-08</a:t>
                      </a:r>
                      <a:endParaRPr kumimoji="0" lang="en-DE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ope of Implementation not clear - customer expectations are not aligned with HY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nd Sign SoW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69708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DE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2024-11-08</a:t>
                      </a:r>
                      <a:endParaRPr kumimoji="0" lang="en-DE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roject Closing Date not able to achieve due to vacation of important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bsence Planning and Backups for PMs and Key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22162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2024-11-08</a:t>
                      </a: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6</a:t>
                      </a: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Tax Compliance config and ML Training takes more resources than expected</a:t>
                      </a: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8</a:t>
                      </a: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hedule a session with PWC and EON Tax team for further alignment</a:t>
                      </a: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98481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5160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9561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437FA19-F6AE-63E7-6B09-1439AB4C955E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194976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ssue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5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10" name="Table 20">
            <a:extLst>
              <a:ext uri="{FF2B5EF4-FFF2-40B4-BE49-F238E27FC236}">
                <a16:creationId xmlns:a16="http://schemas.microsoft.com/office/drawing/2014/main" id="{7544F936-BD39-3E2C-CBE5-9E72161B57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435155"/>
              </p:ext>
            </p:extLst>
          </p:nvPr>
        </p:nvGraphicFramePr>
        <p:xfrm>
          <a:off x="430187" y="1614689"/>
          <a:ext cx="11318898" cy="41619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688">
                  <a:extLst>
                    <a:ext uri="{9D8B030D-6E8A-4147-A177-3AD203B41FA5}">
                      <a16:colId xmlns:a16="http://schemas.microsoft.com/office/drawing/2014/main" val="3244616842"/>
                    </a:ext>
                  </a:extLst>
                </a:gridCol>
                <a:gridCol w="679508">
                  <a:extLst>
                    <a:ext uri="{9D8B030D-6E8A-4147-A177-3AD203B41FA5}">
                      <a16:colId xmlns:a16="http://schemas.microsoft.com/office/drawing/2014/main" val="2386481620"/>
                    </a:ext>
                  </a:extLst>
                </a:gridCol>
                <a:gridCol w="675314">
                  <a:extLst>
                    <a:ext uri="{9D8B030D-6E8A-4147-A177-3AD203B41FA5}">
                      <a16:colId xmlns:a16="http://schemas.microsoft.com/office/drawing/2014/main" val="2503647407"/>
                    </a:ext>
                  </a:extLst>
                </a:gridCol>
                <a:gridCol w="339754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1390234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811876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473978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1663975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  <a:gridCol w="529747">
                  <a:extLst>
                    <a:ext uri="{9D8B030D-6E8A-4147-A177-3AD203B41FA5}">
                      <a16:colId xmlns:a16="http://schemas.microsoft.com/office/drawing/2014/main" val="2137262870"/>
                    </a:ext>
                  </a:extLst>
                </a:gridCol>
                <a:gridCol w="3305262">
                  <a:extLst>
                    <a:ext uri="{9D8B030D-6E8A-4147-A177-3AD203B41FA5}">
                      <a16:colId xmlns:a16="http://schemas.microsoft.com/office/drawing/2014/main" val="51222143"/>
                    </a:ext>
                  </a:extLst>
                </a:gridCol>
                <a:gridCol w="717562">
                  <a:extLst>
                    <a:ext uri="{9D8B030D-6E8A-4147-A177-3AD203B41FA5}">
                      <a16:colId xmlns:a16="http://schemas.microsoft.com/office/drawing/2014/main" val="3189088595"/>
                    </a:ext>
                  </a:extLst>
                </a:gridCol>
              </a:tblGrid>
              <a:tr h="420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Open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Clos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Priority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627220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55665"/>
                  </a:ext>
                </a:extLst>
              </a:tr>
              <a:tr h="423373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078448"/>
                  </a:ext>
                </a:extLst>
              </a:tr>
              <a:tr h="338979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1911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57745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40266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22929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12BB4E3-6A42-81EE-0219-A475125952BB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1223627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E243F-3D70-26B4-1DC9-ABEC8EB1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E243F-3D70-26B4-1DC9-ABEC8EB1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cision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6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447D38A-BC4A-6237-DA3C-1B8FAE0989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470008"/>
              </p:ext>
            </p:extLst>
          </p:nvPr>
        </p:nvGraphicFramePr>
        <p:xfrm>
          <a:off x="429766" y="1618491"/>
          <a:ext cx="11319322" cy="2786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2141">
                  <a:extLst>
                    <a:ext uri="{9D8B030D-6E8A-4147-A177-3AD203B41FA5}">
                      <a16:colId xmlns:a16="http://schemas.microsoft.com/office/drawing/2014/main" val="807255311"/>
                    </a:ext>
                  </a:extLst>
                </a:gridCol>
                <a:gridCol w="2490613">
                  <a:extLst>
                    <a:ext uri="{9D8B030D-6E8A-4147-A177-3AD203B41FA5}">
                      <a16:colId xmlns:a16="http://schemas.microsoft.com/office/drawing/2014/main" val="163418338"/>
                    </a:ext>
                  </a:extLst>
                </a:gridCol>
                <a:gridCol w="2537457">
                  <a:extLst>
                    <a:ext uri="{9D8B030D-6E8A-4147-A177-3AD203B41FA5}">
                      <a16:colId xmlns:a16="http://schemas.microsoft.com/office/drawing/2014/main" val="3392869195"/>
                    </a:ext>
                  </a:extLst>
                </a:gridCol>
                <a:gridCol w="1552692">
                  <a:extLst>
                    <a:ext uri="{9D8B030D-6E8A-4147-A177-3AD203B41FA5}">
                      <a16:colId xmlns:a16="http://schemas.microsoft.com/office/drawing/2014/main" val="3247310338"/>
                    </a:ext>
                  </a:extLst>
                </a:gridCol>
                <a:gridCol w="645459">
                  <a:extLst>
                    <a:ext uri="{9D8B030D-6E8A-4147-A177-3AD203B41FA5}">
                      <a16:colId xmlns:a16="http://schemas.microsoft.com/office/drawing/2014/main" val="2961316966"/>
                    </a:ext>
                  </a:extLst>
                </a:gridCol>
                <a:gridCol w="668511">
                  <a:extLst>
                    <a:ext uri="{9D8B030D-6E8A-4147-A177-3AD203B41FA5}">
                      <a16:colId xmlns:a16="http://schemas.microsoft.com/office/drawing/2014/main" val="2238210792"/>
                    </a:ext>
                  </a:extLst>
                </a:gridCol>
                <a:gridCol w="2912449">
                  <a:extLst>
                    <a:ext uri="{9D8B030D-6E8A-4147-A177-3AD203B41FA5}">
                      <a16:colId xmlns:a16="http://schemas.microsoft.com/office/drawing/2014/main" val="3112965645"/>
                    </a:ext>
                  </a:extLst>
                </a:gridCol>
              </a:tblGrid>
              <a:tr h="34562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etai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Impac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opos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pprov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lternatives Considere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506681"/>
                  </a:ext>
                </a:extLst>
              </a:tr>
              <a:tr h="818070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1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592930"/>
                  </a:ext>
                </a:extLst>
              </a:tr>
              <a:tr h="392865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2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096845"/>
                  </a:ext>
                </a:extLst>
              </a:tr>
              <a:tr h="475228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3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547024"/>
                  </a:ext>
                </a:extLst>
              </a:tr>
              <a:tr h="734443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4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54381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A478872-7F95-E4DF-9D2C-3418B2F698B1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003681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14EE0-8285-E4F8-6A9B-9E5694773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14EE0-8285-E4F8-6A9B-9E5694773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312285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6DDAE5-9499-636E-1D1C-114278166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292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DDAE5-9499-636E-1D1C-114278166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8</a:t>
            </a:fld>
            <a:endParaRPr lang="en-US"/>
          </a:p>
        </p:txBody>
      </p:sp>
      <p:sp>
        <p:nvSpPr>
          <p:cNvPr id="9" name="Lekerekített téglalap 8">
            <a:extLst>
              <a:ext uri="{FF2B5EF4-FFF2-40B4-BE49-F238E27FC236}">
                <a16:creationId xmlns:a16="http://schemas.microsoft.com/office/drawing/2014/main" id="{D4891B43-0B9E-717C-711B-227BCAE81373}"/>
              </a:ext>
            </a:extLst>
          </p:cNvPr>
          <p:cNvSpPr>
            <a:spLocks/>
          </p:cNvSpPr>
          <p:nvPr/>
        </p:nvSpPr>
        <p:spPr>
          <a:xfrm>
            <a:off x="561411" y="1935538"/>
            <a:ext cx="5489728" cy="4263927"/>
          </a:xfrm>
          <a:prstGeom prst="roundRect">
            <a:avLst>
              <a:gd name="adj" fmla="val 7297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-</a:t>
            </a:r>
          </a:p>
        </p:txBody>
      </p:sp>
      <p:sp>
        <p:nvSpPr>
          <p:cNvPr id="17" name="Rechteck 116">
            <a:extLst>
              <a:ext uri="{FF2B5EF4-FFF2-40B4-BE49-F238E27FC236}">
                <a16:creationId xmlns:a16="http://schemas.microsoft.com/office/drawing/2014/main" id="{2E8D6115-0F54-700C-E153-7C7F63A01AED}"/>
              </a:ext>
            </a:extLst>
          </p:cNvPr>
          <p:cNvSpPr/>
          <p:nvPr/>
        </p:nvSpPr>
        <p:spPr>
          <a:xfrm>
            <a:off x="706000" y="2478024"/>
            <a:ext cx="5029200" cy="38209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74320" lvl="1" indent="-27432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>
                <a:tab pos="282575" algn="l"/>
              </a:tabLst>
            </a:pPr>
            <a:r>
              <a:rPr lang="en-US" sz="1400" dirty="0">
                <a:solidFill>
                  <a:schemeClr val="accent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…</a:t>
            </a:r>
          </a:p>
        </p:txBody>
      </p:sp>
      <p:sp>
        <p:nvSpPr>
          <p:cNvPr id="24" name="Rechteck 191">
            <a:extLst>
              <a:ext uri="{FF2B5EF4-FFF2-40B4-BE49-F238E27FC236}">
                <a16:creationId xmlns:a16="http://schemas.microsoft.com/office/drawing/2014/main" id="{BD212E31-0735-E6EB-9EE6-35082E2E985C}"/>
              </a:ext>
            </a:extLst>
          </p:cNvPr>
          <p:cNvSpPr/>
          <p:nvPr/>
        </p:nvSpPr>
        <p:spPr>
          <a:xfrm>
            <a:off x="798941" y="2052984"/>
            <a:ext cx="2116744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Achievements 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7" name="Ábra 36">
            <a:extLst>
              <a:ext uri="{FF2B5EF4-FFF2-40B4-BE49-F238E27FC236}">
                <a16:creationId xmlns:a16="http://schemas.microsoft.com/office/drawing/2014/main" id="{4A688CBA-D4C5-061D-AE4C-9419C12A2C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6592" y="1677800"/>
            <a:ext cx="601329" cy="601329"/>
          </a:xfrm>
          <a:prstGeom prst="rect">
            <a:avLst/>
          </a:prstGeom>
        </p:spPr>
      </p:pic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61B6DCB1-4152-A1EB-DB24-534478AEE0EE}"/>
              </a:ext>
            </a:extLst>
          </p:cNvPr>
          <p:cNvSpPr>
            <a:spLocks/>
          </p:cNvSpPr>
          <p:nvPr/>
        </p:nvSpPr>
        <p:spPr>
          <a:xfrm>
            <a:off x="6238334" y="1935537"/>
            <a:ext cx="5486400" cy="4263928"/>
          </a:xfrm>
          <a:prstGeom prst="roundRect">
            <a:avLst>
              <a:gd name="adj" fmla="val 7297"/>
            </a:avLst>
          </a:prstGeom>
          <a:solidFill>
            <a:schemeClr val="bg2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G</a:t>
            </a:r>
          </a:p>
        </p:txBody>
      </p:sp>
      <p:sp>
        <p:nvSpPr>
          <p:cNvPr id="18" name="Rechteck 119">
            <a:extLst>
              <a:ext uri="{FF2B5EF4-FFF2-40B4-BE49-F238E27FC236}">
                <a16:creationId xmlns:a16="http://schemas.microsoft.com/office/drawing/2014/main" id="{2DFDA6F5-9B4B-6556-3B36-1C525CD615F3}"/>
              </a:ext>
            </a:extLst>
          </p:cNvPr>
          <p:cNvSpPr/>
          <p:nvPr/>
        </p:nvSpPr>
        <p:spPr>
          <a:xfrm>
            <a:off x="6544076" y="2477198"/>
            <a:ext cx="5029200" cy="10284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Open Sauce One" panose="00000800000000000000"/>
                <a:ea typeface="Lato"/>
                <a:cs typeface="Lato"/>
              </a:rPr>
              <a:t>…</a:t>
            </a: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</p:txBody>
      </p:sp>
      <p:sp>
        <p:nvSpPr>
          <p:cNvPr id="38" name="Rechteck 191">
            <a:extLst>
              <a:ext uri="{FF2B5EF4-FFF2-40B4-BE49-F238E27FC236}">
                <a16:creationId xmlns:a16="http://schemas.microsoft.com/office/drawing/2014/main" id="{58693136-510D-9D4C-A24C-6B6D5C332494}"/>
              </a:ext>
            </a:extLst>
          </p:cNvPr>
          <p:cNvSpPr/>
          <p:nvPr/>
        </p:nvSpPr>
        <p:spPr>
          <a:xfrm>
            <a:off x="6670275" y="2052984"/>
            <a:ext cx="4415028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Next </a:t>
            </a:r>
            <a:r>
              <a:rPr lang="de-DE" b="1" spc="100" err="1">
                <a:solidFill>
                  <a:schemeClr val="tx2"/>
                </a:solidFill>
                <a:latin typeface="Open Sauce One" pitchFamily="2" charset="0"/>
              </a:rPr>
              <a:t>Steps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9BCB2A-E542-21B8-A7FA-E4354ABE4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2988355" cy="590931"/>
          </a:xfrm>
        </p:spPr>
        <p:txBody>
          <a:bodyPr vert="horz"/>
          <a:lstStyle/>
          <a:p>
            <a:r>
              <a:rPr lang="en-GB" dirty="0">
                <a:latin typeface="Open Sauce One"/>
              </a:rPr>
              <a:t>Weekly Report – 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06822629-7338-06ED-9798-E440B3F742E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rojects Status &amp; Timeline Review</a:t>
            </a:r>
          </a:p>
        </p:txBody>
      </p:sp>
      <p:pic>
        <p:nvPicPr>
          <p:cNvPr id="33" name="Ábra 72">
            <a:extLst>
              <a:ext uri="{FF2B5EF4-FFF2-40B4-BE49-F238E27FC236}">
                <a16:creationId xmlns:a16="http://schemas.microsoft.com/office/drawing/2014/main" id="{FF020B75-E8A0-F10D-B90B-53932E75F3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15808" y="1677800"/>
            <a:ext cx="571500" cy="571500"/>
          </a:xfrm>
          <a:prstGeom prst="rect">
            <a:avLst/>
          </a:prstGeom>
        </p:spPr>
      </p:pic>
      <p:sp>
        <p:nvSpPr>
          <p:cNvPr id="3" name="CWPlaceHolderNextSteps">
            <a:extLst>
              <a:ext uri="{FF2B5EF4-FFF2-40B4-BE49-F238E27FC236}">
                <a16:creationId xmlns:a16="http://schemas.microsoft.com/office/drawing/2014/main" id="{82127352-E24B-238A-2090-523F070919FE}"/>
              </a:ext>
            </a:extLst>
          </p:cNvPr>
          <p:cNvSpPr txBox="1">
            <a:spLocks/>
          </p:cNvSpPr>
          <p:nvPr/>
        </p:nvSpPr>
        <p:spPr>
          <a:xfrm>
            <a:off x="3297867" y="963466"/>
            <a:ext cx="2988355" cy="590931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r>
              <a:rPr lang="en-GB" dirty="0">
                <a:latin typeface="Open Sauce One"/>
              </a:rPr>
              <a:t>#</a:t>
            </a:r>
            <a:r>
              <a:rPr lang="en-GB" dirty="0" err="1">
                <a:latin typeface="Open Sauce One"/>
              </a:rPr>
              <a:t>CWPlaceHolder</a:t>
            </a:r>
            <a:endParaRPr lang="en-GB" dirty="0">
              <a:latin typeface="Open Sauce One"/>
            </a:endParaRPr>
          </a:p>
        </p:txBody>
      </p:sp>
    </p:spTree>
    <p:extLst>
      <p:ext uri="{BB962C8B-B14F-4D97-AF65-F5344CB8AC3E}">
        <p14:creationId xmlns:p14="http://schemas.microsoft.com/office/powerpoint/2010/main" val="39533366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9" name="Object 278" hidden="1">
            <a:extLst>
              <a:ext uri="{FF2B5EF4-FFF2-40B4-BE49-F238E27FC236}">
                <a16:creationId xmlns:a16="http://schemas.microsoft.com/office/drawing/2014/main" id="{82FC2E4A-4704-89A8-10BF-2E7B8B189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1" imgW="500" imgH="501" progId="TCLayout.ActiveDocument.1">
                  <p:embed/>
                </p:oleObj>
              </mc:Choice>
              <mc:Fallback>
                <p:oleObj name="think-cell Slide" r:id="rId211" imgW="500" imgH="501" progId="TCLayout.ActiveDocument.1">
                  <p:embed/>
                  <p:pic>
                    <p:nvPicPr>
                      <p:cNvPr id="279" name="Object 278" hidden="1">
                        <a:extLst>
                          <a:ext uri="{FF2B5EF4-FFF2-40B4-BE49-F238E27FC236}">
                            <a16:creationId xmlns:a16="http://schemas.microsoft.com/office/drawing/2014/main" id="{82FC2E4A-4704-89A8-10BF-2E7B8B189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" name="Téglalap 150">
            <a:extLst>
              <a:ext uri="{FF2B5EF4-FFF2-40B4-BE49-F238E27FC236}">
                <a16:creationId xmlns:a16="http://schemas.microsoft.com/office/drawing/2014/main" id="{DB3992E1-9545-497E-0178-B9A9AC10E5B5}"/>
              </a:ext>
            </a:extLst>
          </p:cNvPr>
          <p:cNvSpPr/>
          <p:nvPr/>
        </p:nvSpPr>
        <p:spPr>
          <a:xfrm>
            <a:off x="151114" y="6047546"/>
            <a:ext cx="1818180" cy="7773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67105056-0349-0D57-D228-483B57B5D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731292"/>
            <a:ext cx="11341100" cy="954107"/>
          </a:xfrm>
        </p:spPr>
        <p:txBody>
          <a:bodyPr vert="horz"/>
          <a:lstStyle/>
          <a:p>
            <a:r>
              <a:rPr lang="en-US" sz="2800"/>
              <a:t>Indicative Project Plan for E.ON MVP Go-Live in Mar ’25 + Roll-out and Enhancement Waves along 2025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7D00131C-9FB6-4799-2FDF-7F4DEDAFE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05888" y="6342073"/>
            <a:ext cx="2743200" cy="24622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570" name="Rectangle 569">
            <a:extLst>
              <a:ext uri="{FF2B5EF4-FFF2-40B4-BE49-F238E27FC236}">
                <a16:creationId xmlns:a16="http://schemas.microsoft.com/office/drawing/2014/main" id="{85A444DC-C391-696B-5104-A198AC7BB51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5410200" y="2020887"/>
            <a:ext cx="534988" cy="349885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579" name="Rectangle 578">
            <a:extLst>
              <a:ext uri="{FF2B5EF4-FFF2-40B4-BE49-F238E27FC236}">
                <a16:creationId xmlns:a16="http://schemas.microsoft.com/office/drawing/2014/main" id="{BCF7B6AD-7796-999F-0F5F-33C63280DC5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945188" y="2020887"/>
            <a:ext cx="869950" cy="3498850"/>
          </a:xfrm>
          <a:prstGeom prst="rect">
            <a:avLst/>
          </a:prstGeom>
          <a:solidFill>
            <a:srgbClr val="DFE5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1" name="Textplatzhalter 2">
            <a:extLst>
              <a:ext uri="{FF2B5EF4-FFF2-40B4-BE49-F238E27FC236}">
                <a16:creationId xmlns:a16="http://schemas.microsoft.com/office/drawing/2014/main" id="{13C21C1F-B041-F628-B570-DD4D3281D3B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536950" y="1744663"/>
            <a:ext cx="36830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7DA4BE4-A83D-4B15-AEED-8E62BD5F8E50}" type="datetime'''''O''''''''''''''''''c''''''''''''''''''''''t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Oct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02" name="Textplatzhalter 2">
            <a:extLst>
              <a:ext uri="{FF2B5EF4-FFF2-40B4-BE49-F238E27FC236}">
                <a16:creationId xmlns:a16="http://schemas.microsoft.com/office/drawing/2014/main" id="{0E508C60-72E6-D0DE-24F8-C73392A9C29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905250" y="1744663"/>
            <a:ext cx="100330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DD8D172-088B-4D37-9A97-F9B578671473}" type="datetime'''N''''''''''o''''''''''''v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Nov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49" name="Textplatzhalter 2">
            <a:extLst>
              <a:ext uri="{FF2B5EF4-FFF2-40B4-BE49-F238E27FC236}">
                <a16:creationId xmlns:a16="http://schemas.microsoft.com/office/drawing/2014/main" id="{ABC65454-001C-12E8-1B17-1F7201CFB9E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08550" y="1744663"/>
            <a:ext cx="10366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FCA6889-9B7C-4D1E-A42F-65A8F4F0B7FB}" type="datetime'''''D''''''e''''''''''''''''''''c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c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50" name="Textplatzhalter 2">
            <a:extLst>
              <a:ext uri="{FF2B5EF4-FFF2-40B4-BE49-F238E27FC236}">
                <a16:creationId xmlns:a16="http://schemas.microsoft.com/office/drawing/2014/main" id="{62989BAA-E734-2AA8-486D-5C864D4619C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945188" y="1744663"/>
            <a:ext cx="10382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B712EFF-42AA-4059-8124-5741E2917C97}" type="datetime'''J''''a''''''''''''''''''n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an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95" name="Textplatzhalter 2">
            <a:extLst>
              <a:ext uri="{FF2B5EF4-FFF2-40B4-BE49-F238E27FC236}">
                <a16:creationId xmlns:a16="http://schemas.microsoft.com/office/drawing/2014/main" id="{3CDCB9F3-E578-5ED8-F2F9-6839D90C168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983414" y="1744663"/>
            <a:ext cx="9366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57BB839-F9EC-4703-A59D-C21428879A91}" type="datetime'F''''e''''''''b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eb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3" name="Textplatzhalter 2">
            <a:extLst>
              <a:ext uri="{FF2B5EF4-FFF2-40B4-BE49-F238E27FC236}">
                <a16:creationId xmlns:a16="http://schemas.microsoft.com/office/drawing/2014/main" id="{D8F8757E-21B1-6344-7532-F4EB0427B4C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920038" y="1744663"/>
            <a:ext cx="10366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5EE3EF8-C503-44C4-9FE6-FF4753B930A0}" type="datetime'''M''''''a''''''''''''''''''''''''''''''''r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9B4D4EBF-6DC5-79BD-5534-9DAF06124644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956675" y="1744663"/>
            <a:ext cx="100330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A5B52E5-D08B-48A8-B651-6693CFF10B5B}" type="datetime'''''''''''''''''''''''''''A''''''''p''r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Ap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5" name="Textplatzhalter 2">
            <a:extLst>
              <a:ext uri="{FF2B5EF4-FFF2-40B4-BE49-F238E27FC236}">
                <a16:creationId xmlns:a16="http://schemas.microsoft.com/office/drawing/2014/main" id="{317EBE90-5BDD-99DB-CF02-D3E0B74C213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959975" y="1744663"/>
            <a:ext cx="36830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520A2ED-C9C1-4699-96AA-AC624588EDB8}" type="datetime'''''''''''''''''''''''''''''''''''''''''''M''ay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y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5" name="Textplatzhalter 2">
            <a:extLst>
              <a:ext uri="{FF2B5EF4-FFF2-40B4-BE49-F238E27FC236}">
                <a16:creationId xmlns:a16="http://schemas.microsoft.com/office/drawing/2014/main" id="{EF30A6A1-B34A-2E6A-5FDD-6CDF85DC6F9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536950" y="1882775"/>
            <a:ext cx="2349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1FD2064-FF4F-4D7E-9840-BB8C14C00304}" type="datetime'''''''''''''''''''''''''''''''''''''4''3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3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6" name="Textplatzhalter 2">
            <a:extLst>
              <a:ext uri="{FF2B5EF4-FFF2-40B4-BE49-F238E27FC236}">
                <a16:creationId xmlns:a16="http://schemas.microsoft.com/office/drawing/2014/main" id="{FD61834D-F772-4D06-8997-F105C77644F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771901" y="1882775"/>
            <a:ext cx="23336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9A9B7E5-EE50-4A9C-BA17-8D5408EFF029}" type="datetime'''''''''''''''''''''4''''''''''''''''4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4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7" name="Textplatzhalter 2">
            <a:extLst>
              <a:ext uri="{FF2B5EF4-FFF2-40B4-BE49-F238E27FC236}">
                <a16:creationId xmlns:a16="http://schemas.microsoft.com/office/drawing/2014/main" id="{6B93AFBA-93AD-CF27-C017-EBFDD1E3AAB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005263" y="1882775"/>
            <a:ext cx="2349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1A90DFD-B6E0-4EBF-A9D6-E4ECD4075D84}" type="datetime'''''4''''''''''''''''''5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5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8" name="Textplatzhalter 2">
            <a:extLst>
              <a:ext uri="{FF2B5EF4-FFF2-40B4-BE49-F238E27FC236}">
                <a16:creationId xmlns:a16="http://schemas.microsoft.com/office/drawing/2014/main" id="{8D79289E-037D-E7F9-2630-0F8AD900784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240214" y="1882775"/>
            <a:ext cx="23336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10281AA-AC77-4F0F-BCB6-18FE0F49D72D}" type="datetime'''''''''''''''''''''''''''''''''''''''''''''''''4''6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6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9" name="Textplatzhalter 2">
            <a:extLst>
              <a:ext uri="{FF2B5EF4-FFF2-40B4-BE49-F238E27FC236}">
                <a16:creationId xmlns:a16="http://schemas.microsoft.com/office/drawing/2014/main" id="{C94F65D9-F1B7-0DCD-25A4-EAA1157940B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473575" y="1882775"/>
            <a:ext cx="2349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BFF7F93-1C04-4022-A3C5-6A507F0B1E86}" type="datetime'''''''''''''''''''''''''''''''''''''''''''''''''4''''7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7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00" name="Textplatzhalter 2">
            <a:extLst>
              <a:ext uri="{FF2B5EF4-FFF2-40B4-BE49-F238E27FC236}">
                <a16:creationId xmlns:a16="http://schemas.microsoft.com/office/drawing/2014/main" id="{E9ED042C-A6F2-A1C5-D6E1-2FD66D93380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708526" y="1882775"/>
            <a:ext cx="23336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8901A17-078B-4D91-88D6-A8D5BBC9D365}" type="datetime'''''''''''''''''''''''''''''4''''''''''''''''''''8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8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33" name="Textplatzhalter 2">
            <a:extLst>
              <a:ext uri="{FF2B5EF4-FFF2-40B4-BE49-F238E27FC236}">
                <a16:creationId xmlns:a16="http://schemas.microsoft.com/office/drawing/2014/main" id="{9C855CCC-B101-4EC8-54BA-52817616D0C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941888" y="1882775"/>
            <a:ext cx="2349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86F63F3-7980-4BA3-94FA-73CB5A997C54}" type="datetime'''''''''''''''4''''''9''''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9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37" name="Textplatzhalter 2">
            <a:extLst>
              <a:ext uri="{FF2B5EF4-FFF2-40B4-BE49-F238E27FC236}">
                <a16:creationId xmlns:a16="http://schemas.microsoft.com/office/drawing/2014/main" id="{F4357864-6F13-CC9B-4300-5B7D95E05D1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176839" y="1882775"/>
            <a:ext cx="23336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FD37E15-CA5D-4918-B0BF-8CE1CDC907B5}" type="datetime'''''''''''''''''''''''''''''''''''''''5''''''''''''''0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38" name="Textplatzhalter 2">
            <a:extLst>
              <a:ext uri="{FF2B5EF4-FFF2-40B4-BE49-F238E27FC236}">
                <a16:creationId xmlns:a16="http://schemas.microsoft.com/office/drawing/2014/main" id="{E692AA62-A2EC-4CFC-1ED8-B9F9428828E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410200" y="1882775"/>
            <a:ext cx="2349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BAE5333-1632-46A4-AE16-BAAC49264F46}" type="datetime'''''5''''''''''''''''1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1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39" name="Textplatzhalter 2">
            <a:extLst>
              <a:ext uri="{FF2B5EF4-FFF2-40B4-BE49-F238E27FC236}">
                <a16:creationId xmlns:a16="http://schemas.microsoft.com/office/drawing/2014/main" id="{2E112EBD-0E5B-34A6-CFAD-20B26CA8FA4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645151" y="1882775"/>
            <a:ext cx="23336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FDD54DF-6DF2-43A5-867E-2CAD38C9B3C0}" type="datetime'''''''''''''''''52''''''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2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40" name="Textplatzhalter 2">
            <a:extLst>
              <a:ext uri="{FF2B5EF4-FFF2-40B4-BE49-F238E27FC236}">
                <a16:creationId xmlns:a16="http://schemas.microsoft.com/office/drawing/2014/main" id="{57DA311A-10DC-D5D2-5009-0FB1771A33A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878513" y="1882775"/>
            <a:ext cx="2349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44455A5-2600-48BF-9051-B91E66475641}" type="datetime'''''''''0''''''''1''''''''''''''''''''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1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41" name="Textplatzhalter 2">
            <a:extLst>
              <a:ext uri="{FF2B5EF4-FFF2-40B4-BE49-F238E27FC236}">
                <a16:creationId xmlns:a16="http://schemas.microsoft.com/office/drawing/2014/main" id="{D8896546-B4CD-0E84-781F-E9650EEF50C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113464" y="1882775"/>
            <a:ext cx="23336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F764C9A-7F4A-46B0-8B50-B947FED141EF}" type="datetime'''''02''''''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2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42" name="Textplatzhalter 2">
            <a:extLst>
              <a:ext uri="{FF2B5EF4-FFF2-40B4-BE49-F238E27FC236}">
                <a16:creationId xmlns:a16="http://schemas.microsoft.com/office/drawing/2014/main" id="{A866D643-CECA-37AF-F7CE-907E83053BA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346825" y="1882775"/>
            <a:ext cx="2349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3EAAA88-54AB-4E49-94C6-8943E9B1BCA0}" type="datetime'''''0''''''''''''''''''''''''''''''''''3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3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43" name="Textplatzhalter 2">
            <a:extLst>
              <a:ext uri="{FF2B5EF4-FFF2-40B4-BE49-F238E27FC236}">
                <a16:creationId xmlns:a16="http://schemas.microsoft.com/office/drawing/2014/main" id="{49020C09-57C3-B0D0-5B10-A1241848BFD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581776" y="1882775"/>
            <a:ext cx="23336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A2E378C-DBFE-46FB-ACBA-488084DBC7C3}" type="datetime'''''''''''''0''''''4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4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44" name="Textplatzhalter 2">
            <a:extLst>
              <a:ext uri="{FF2B5EF4-FFF2-40B4-BE49-F238E27FC236}">
                <a16:creationId xmlns:a16="http://schemas.microsoft.com/office/drawing/2014/main" id="{E881BAC0-36E4-BA6C-AA90-496A0ECA5AA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815138" y="1882775"/>
            <a:ext cx="2349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922DA64-8F4C-4462-819C-C6A6988AFFD4}" type="datetime'''''''''''''0''''''5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5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85" name="Textplatzhalter 2">
            <a:extLst>
              <a:ext uri="{FF2B5EF4-FFF2-40B4-BE49-F238E27FC236}">
                <a16:creationId xmlns:a16="http://schemas.microsoft.com/office/drawing/2014/main" id="{A8A09088-98AA-3D54-D300-7F735CA7D82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050089" y="1882775"/>
            <a:ext cx="23336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135C4C8-B756-49A4-B485-9A89AD90E390}" type="datetime'''0''''''''''''''''''''''''''''''''''''6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6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87" name="Textplatzhalter 2">
            <a:extLst>
              <a:ext uri="{FF2B5EF4-FFF2-40B4-BE49-F238E27FC236}">
                <a16:creationId xmlns:a16="http://schemas.microsoft.com/office/drawing/2014/main" id="{F7F044D1-A97F-D673-6E4A-B24802E46F43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283450" y="1882775"/>
            <a:ext cx="2349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0BD9F10-2549-40EA-BB01-215BD3C1CF24}" type="datetime'''''''''''''''''''''''''''''''''''0''''''''''''''''7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7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64" name="Textplatzhalter 2">
            <a:extLst>
              <a:ext uri="{FF2B5EF4-FFF2-40B4-BE49-F238E27FC236}">
                <a16:creationId xmlns:a16="http://schemas.microsoft.com/office/drawing/2014/main" id="{30E06E6A-835D-2C29-A5EE-016B5DD1A52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518401" y="1882775"/>
            <a:ext cx="23336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40D00D8-D748-4C79-B8F8-BF8AB77ACA51}" type="datetime'''''''''''''''''''0''''''''''''''''''''8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8" name="Textplatzhalter 2">
            <a:extLst>
              <a:ext uri="{FF2B5EF4-FFF2-40B4-BE49-F238E27FC236}">
                <a16:creationId xmlns:a16="http://schemas.microsoft.com/office/drawing/2014/main" id="{28E5F238-77DE-A79A-7B26-19A79CA710A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751763" y="1882775"/>
            <a:ext cx="2349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73E48D0-EBD0-441F-8114-6818463D802E}" type="datetime'0''''''''''''''''''''''9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6" name="Textplatzhalter 2">
            <a:extLst>
              <a:ext uri="{FF2B5EF4-FFF2-40B4-BE49-F238E27FC236}">
                <a16:creationId xmlns:a16="http://schemas.microsoft.com/office/drawing/2014/main" id="{F0F2A753-8993-8237-5DA9-8E57879FA5A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986714" y="1882775"/>
            <a:ext cx="23336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4A826DE-3E3B-4EF1-B857-E1C8D1895295}" type="datetime'''''''''1''''0''''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8" name="Textplatzhalter 2">
            <a:extLst>
              <a:ext uri="{FF2B5EF4-FFF2-40B4-BE49-F238E27FC236}">
                <a16:creationId xmlns:a16="http://schemas.microsoft.com/office/drawing/2014/main" id="{E8DA2A3F-BEA5-6E6D-75A5-B66DFFF454A0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220075" y="1882775"/>
            <a:ext cx="2349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4B646DF-2CDE-4B72-A46A-EAAC4FE4E472}" type="datetime'''''1''''''''''1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A48D7DBA-D892-3BAD-C831-877244BEC6D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455026" y="1882775"/>
            <a:ext cx="23336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2025315-C180-437F-B8AA-CA3C309A04E6}" type="datetime'''''''''''''''''''''''''''''1''''''''''2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80B6438B-3540-BA19-DBD2-5C9E7A5C3C1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688388" y="1882775"/>
            <a:ext cx="2349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1FCE1F6-839F-4C73-8278-E5B91DFFD321}" type="datetime'''''''''''''''1''''''''3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F1A67295-697D-2C3B-66D0-88C91C9B04C1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923339" y="1882775"/>
            <a:ext cx="23336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957839A-BE23-48AC-A94F-C551D45C6547}" type="datetime'''''''''''''''1''''''''''''''''4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9DC1D992-32E6-8398-970A-DED4E131D69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9156700" y="1882775"/>
            <a:ext cx="2349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82C38A8-FC16-4D0E-A78F-372EB0AB388A}" type="datetime'''''1''5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E36E5F7C-A232-1683-8278-A4DCE14760B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9391651" y="1882775"/>
            <a:ext cx="23336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B631982-47B8-4549-BE64-E35ED9272374}" type="datetime'''''''''''''''''''1''''''''6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5B0207D3-DE24-AC07-9C70-446CC96F0D9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625013" y="1882775"/>
            <a:ext cx="2349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953290B-CF6A-4A57-B282-B750D40BBEEE}" type="datetime'1''''''7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D1B805CD-4D04-2DF3-182B-8F2C2709145E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859964" y="1882775"/>
            <a:ext cx="23336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F673600-928B-4570-9CBA-C2E698763C87}" type="datetime'''''1''''''''''''''''''''''''''''8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7" name="Textplatzhalter 2">
            <a:extLst>
              <a:ext uri="{FF2B5EF4-FFF2-40B4-BE49-F238E27FC236}">
                <a16:creationId xmlns:a16="http://schemas.microsoft.com/office/drawing/2014/main" id="{9A9EAB13-696E-306F-3077-F5BE7BBED85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0093325" y="1882775"/>
            <a:ext cx="2349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9D2EC41-6272-4AA9-A507-E46B7422DFF4}" type="datetime'''''''''''''''''''''1''''''''''''''''9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6C2E198A-2F9F-DCDF-12E0-A7B18F2F1F3B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5410200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6" name="Straight Connector 535">
            <a:extLst>
              <a:ext uri="{FF2B5EF4-FFF2-40B4-BE49-F238E27FC236}">
                <a16:creationId xmlns:a16="http://schemas.microsoft.com/office/drawing/2014/main" id="{7B24F18C-909F-AFA8-85CE-D0EB95A068A6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4941888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5" name="Straight Connector 534">
            <a:extLst>
              <a:ext uri="{FF2B5EF4-FFF2-40B4-BE49-F238E27FC236}">
                <a16:creationId xmlns:a16="http://schemas.microsoft.com/office/drawing/2014/main" id="{C139BA36-BABB-93EF-374D-097383421CA3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4473575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2" name="Straight Connector 481">
            <a:extLst>
              <a:ext uri="{FF2B5EF4-FFF2-40B4-BE49-F238E27FC236}">
                <a16:creationId xmlns:a16="http://schemas.microsoft.com/office/drawing/2014/main" id="{08E35ABE-1638-0443-D4A8-C6F727F3B069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7283450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8" name="Straight Connector 557">
            <a:extLst>
              <a:ext uri="{FF2B5EF4-FFF2-40B4-BE49-F238E27FC236}">
                <a16:creationId xmlns:a16="http://schemas.microsoft.com/office/drawing/2014/main" id="{9E7EAD59-717B-3DE6-161B-3527A9B9A334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9391650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4D37098-5579-058D-E634-E128B51C3E74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4240213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46FD265-C394-2DC7-4DD6-E74A0B907380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7050088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5" name="Straight Connector 314">
            <a:extLst>
              <a:ext uri="{FF2B5EF4-FFF2-40B4-BE49-F238E27FC236}">
                <a16:creationId xmlns:a16="http://schemas.microsoft.com/office/drawing/2014/main" id="{F843F2D7-AFE9-5E3A-CF35-53492781584C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3771900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5" name="Straight Connector 474">
            <a:extLst>
              <a:ext uri="{FF2B5EF4-FFF2-40B4-BE49-F238E27FC236}">
                <a16:creationId xmlns:a16="http://schemas.microsoft.com/office/drawing/2014/main" id="{788E31D3-45DC-6EAC-B1BB-97FC1529776F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6346825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8" name="Straight Connector 457">
            <a:extLst>
              <a:ext uri="{FF2B5EF4-FFF2-40B4-BE49-F238E27FC236}">
                <a16:creationId xmlns:a16="http://schemas.microsoft.com/office/drawing/2014/main" id="{D79306CF-B122-112D-6F02-0181716DD6AC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5645150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875814F-1C72-A3F9-AD76-AB7E6849199F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6113463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376CDC8-CCB1-776D-1C6C-E811D05B2391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5878513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8216E8B-2293-B94A-1EFC-73BF9437E946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6581775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A9E42D17-F995-5836-222B-D2C620F6B412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7518400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078B6655-7215-BBB1-90B5-3F0329F638C1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7986713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4" name="Straight Connector 553">
            <a:extLst>
              <a:ext uri="{FF2B5EF4-FFF2-40B4-BE49-F238E27FC236}">
                <a16:creationId xmlns:a16="http://schemas.microsoft.com/office/drawing/2014/main" id="{11526513-92DF-B185-0D2A-104D75A1FC79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8455025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0CE51B9-6D07-CC41-67DA-19E34F9C5187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8688388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5AE25AA7-48E6-AFA8-0886-5BBEC6F94E6A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8923338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A1B34E08-F93D-EAA1-332C-591606A1F2E9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9625013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4" name="Straight Connector 473">
            <a:extLst>
              <a:ext uri="{FF2B5EF4-FFF2-40B4-BE49-F238E27FC236}">
                <a16:creationId xmlns:a16="http://schemas.microsoft.com/office/drawing/2014/main" id="{A647F391-22C6-5EDE-F3F7-A4B9967BA56F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9859963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9" name="Straight Connector 558">
            <a:extLst>
              <a:ext uri="{FF2B5EF4-FFF2-40B4-BE49-F238E27FC236}">
                <a16:creationId xmlns:a16="http://schemas.microsoft.com/office/drawing/2014/main" id="{637FB9B4-4F9A-0709-0B5B-4B4BBA5197E4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10093325" y="2020887"/>
            <a:ext cx="0" cy="3498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E81E882F-24A5-EA71-E2ED-EFCE9CBE2396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3536950" y="2020887"/>
            <a:ext cx="0" cy="34988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A507934A-62F5-A750-DEFF-A362916A8F7E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10328275" y="2020887"/>
            <a:ext cx="0" cy="34988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2" name="Straight Connector 301">
            <a:extLst>
              <a:ext uri="{FF2B5EF4-FFF2-40B4-BE49-F238E27FC236}">
                <a16:creationId xmlns:a16="http://schemas.microsoft.com/office/drawing/2014/main" id="{E7EFA7E6-E77B-906D-6945-1A320CC68232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1438275" y="2020887"/>
            <a:ext cx="0" cy="34988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Straight Connector 459">
            <a:extLst>
              <a:ext uri="{FF2B5EF4-FFF2-40B4-BE49-F238E27FC236}">
                <a16:creationId xmlns:a16="http://schemas.microsoft.com/office/drawing/2014/main" id="{F085FBA8-5389-9120-1256-A7A945F86C9D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11658600" y="2020887"/>
            <a:ext cx="0" cy="34988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A39C3F7D-81A6-A780-861F-203243680143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1438275" y="4157663"/>
            <a:ext cx="10220325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345F976F-F6A6-38C5-9EB5-944DAF796911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1438275" y="2938463"/>
            <a:ext cx="10220325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4D7FBC1D-9EFC-D355-92EC-8FEC7C5B3449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1438275" y="3384550"/>
            <a:ext cx="10220325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6" name="Straight Connector 555">
            <a:extLst>
              <a:ext uri="{FF2B5EF4-FFF2-40B4-BE49-F238E27FC236}">
                <a16:creationId xmlns:a16="http://schemas.microsoft.com/office/drawing/2014/main" id="{739494A1-7B8A-C8C1-6DE4-EE62E18CEBF0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1438275" y="5076825"/>
            <a:ext cx="102203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CFBCC9A4-DA04-7842-E645-6F42A1D40591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1438275" y="5519738"/>
            <a:ext cx="102203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6" name="Straight Connector 325">
            <a:extLst>
              <a:ext uri="{FF2B5EF4-FFF2-40B4-BE49-F238E27FC236}">
                <a16:creationId xmlns:a16="http://schemas.microsoft.com/office/drawing/2014/main" id="{C5B65C18-8A86-5FED-F2A9-232775CB2FEA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8220075" y="2020888"/>
            <a:ext cx="0" cy="36623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56A8E1F6-E70C-49DF-A2DC-8F2DFC273B2C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9156700" y="2020888"/>
            <a:ext cx="0" cy="36623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0" name="Straight Connector 519">
            <a:extLst>
              <a:ext uri="{FF2B5EF4-FFF2-40B4-BE49-F238E27FC236}">
                <a16:creationId xmlns:a16="http://schemas.microsoft.com/office/drawing/2014/main" id="{7807416B-792D-1E44-C696-66A4A5FD1B00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10059988" y="2020888"/>
            <a:ext cx="0" cy="36623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9EE948E8-1EE1-F3B7-6F74-74A33201FD53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4005263" y="2020888"/>
            <a:ext cx="0" cy="36623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2F52D9C-3D7B-8C8A-D20D-04CDE99C9676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4708525" y="2020888"/>
            <a:ext cx="0" cy="36623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03FFFAB0-188B-CB00-F164-B44478AE71AA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5176838" y="2020888"/>
            <a:ext cx="0" cy="36623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D760441A-47A0-7293-E9A8-2A51228A88EA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6815138" y="2020888"/>
            <a:ext cx="0" cy="36623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5B0BCC64-E838-03F5-2E2B-1B86F7429C95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7751763" y="2020888"/>
            <a:ext cx="0" cy="36623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7" name="Straight Connector 326">
            <a:extLst>
              <a:ext uri="{FF2B5EF4-FFF2-40B4-BE49-F238E27FC236}">
                <a16:creationId xmlns:a16="http://schemas.microsoft.com/office/drawing/2014/main" id="{A2FBB6BF-F10B-6999-667D-5193362E4008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1438275" y="2020888"/>
            <a:ext cx="102203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35">
            <a:extLst>
              <a:ext uri="{FF2B5EF4-FFF2-40B4-BE49-F238E27FC236}">
                <a16:creationId xmlns:a16="http://schemas.microsoft.com/office/drawing/2014/main" id="{3329CB1A-EBCB-268E-6599-2B1195CCD373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7518400" y="4443413"/>
            <a:ext cx="568325" cy="79375"/>
          </a:xfrm>
          <a:prstGeom prst="rect">
            <a:avLst/>
          </a:prstGeom>
          <a:solidFill>
            <a:srgbClr val="7196F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D951F95A-3AE2-B14C-3570-0764CED4FFC1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5176839" y="3732213"/>
            <a:ext cx="936625" cy="79375"/>
          </a:xfrm>
          <a:prstGeom prst="rect">
            <a:avLst/>
          </a:prstGeom>
          <a:solidFill>
            <a:srgbClr val="7196FE"/>
          </a:solidFill>
          <a:ln w="19050" cap="flat" cmpd="sng" algn="ctr">
            <a:noFill/>
            <a:prstDash val="dash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7196FE"/>
                </a:solidFill>
                <a:prstDash val="dash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B4275A14-EBBD-FA32-8BA9-5F346DF21C57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6815139" y="4235450"/>
            <a:ext cx="936625" cy="79375"/>
          </a:xfrm>
          <a:prstGeom prst="rect">
            <a:avLst/>
          </a:prstGeom>
          <a:solidFill>
            <a:srgbClr val="7196FE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4" name="Rectangle 333">
            <a:extLst>
              <a:ext uri="{FF2B5EF4-FFF2-40B4-BE49-F238E27FC236}">
                <a16:creationId xmlns:a16="http://schemas.microsoft.com/office/drawing/2014/main" id="{6A6890C4-509F-2F9C-1063-6E128248A959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5176839" y="3438525"/>
            <a:ext cx="1304925" cy="79375"/>
          </a:xfrm>
          <a:prstGeom prst="rect">
            <a:avLst/>
          </a:prstGeom>
          <a:solidFill>
            <a:srgbClr val="7196FE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53C7BA6B-EDE2-46A2-1D5E-6E7B2515543F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7751764" y="4649788"/>
            <a:ext cx="468313" cy="79375"/>
          </a:xfrm>
          <a:prstGeom prst="rect">
            <a:avLst/>
          </a:prstGeom>
          <a:solidFill>
            <a:schemeClr val="accent5"/>
          </a:solidFill>
          <a:ln w="19050" cap="flat" cmpd="sng" algn="ctr">
            <a:noFill/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7" name="Arrow: Right 456">
            <a:extLst>
              <a:ext uri="{FF2B5EF4-FFF2-40B4-BE49-F238E27FC236}">
                <a16:creationId xmlns:a16="http://schemas.microsoft.com/office/drawing/2014/main" id="{593E3EF9-7D01-B1A7-1918-9FEA47E59079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10059988" y="5114925"/>
            <a:ext cx="369888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7196F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C3B44F55-45C5-F822-7628-04A6EF80E31E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4005263" y="2270125"/>
            <a:ext cx="368300" cy="79375"/>
          </a:xfrm>
          <a:prstGeom prst="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3" name="Rectangle 482">
            <a:extLst>
              <a:ext uri="{FF2B5EF4-FFF2-40B4-BE49-F238E27FC236}">
                <a16:creationId xmlns:a16="http://schemas.microsoft.com/office/drawing/2014/main" id="{E38FF64F-9C48-BA66-3C98-403CC742A81A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7283451" y="4649788"/>
            <a:ext cx="468313" cy="79375"/>
          </a:xfrm>
          <a:prstGeom prst="rect">
            <a:avLst/>
          </a:prstGeom>
          <a:solidFill>
            <a:srgbClr val="7196F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B84A2CC6-D03E-C3E0-B315-A9C578122AF3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4708526" y="4443413"/>
            <a:ext cx="468313" cy="7937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8C46D203-7216-8647-B709-7EE290BE5EC4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8956675" y="5154613"/>
            <a:ext cx="635000" cy="79375"/>
          </a:xfrm>
          <a:prstGeom prst="rect">
            <a:avLst/>
          </a:prstGeom>
          <a:solidFill>
            <a:srgbClr val="7196F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BDC32E30-AA53-CB1C-A8A0-D11FAB946B1C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4240214" y="2476500"/>
            <a:ext cx="936625" cy="79375"/>
          </a:xfrm>
          <a:prstGeom prst="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2" name="Rectangle 701">
            <a:extLst>
              <a:ext uri="{FF2B5EF4-FFF2-40B4-BE49-F238E27FC236}">
                <a16:creationId xmlns:a16="http://schemas.microsoft.com/office/drawing/2014/main" id="{D8ADD6C1-C62E-992F-58E9-BE8B98B94B2B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4240214" y="2754313"/>
            <a:ext cx="936625" cy="79375"/>
          </a:xfrm>
          <a:prstGeom prst="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2" name="Rechteck 29">
            <a:extLst>
              <a:ext uri="{FF2B5EF4-FFF2-40B4-BE49-F238E27FC236}">
                <a16:creationId xmlns:a16="http://schemas.microsoft.com/office/drawing/2014/main" id="{9BD840CF-9E1A-694B-D6D1-269A46FD10FF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5176839" y="3187700"/>
            <a:ext cx="1304925" cy="79375"/>
          </a:xfrm>
          <a:prstGeom prst="rect">
            <a:avLst/>
          </a:prstGeom>
          <a:solidFill>
            <a:srgbClr val="7196FE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4" name="Pfeil: nach rechts 97">
            <a:extLst>
              <a:ext uri="{FF2B5EF4-FFF2-40B4-BE49-F238E27FC236}">
                <a16:creationId xmlns:a16="http://schemas.microsoft.com/office/drawing/2014/main" id="{B9196557-5A8F-D21A-3382-53DDB33C8926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8220076" y="4857750"/>
            <a:ext cx="936625" cy="79375"/>
          </a:xfrm>
          <a:prstGeom prst="rect">
            <a:avLst/>
          </a:prstGeom>
          <a:solidFill>
            <a:srgbClr val="7196FE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8" name="Rectangle 547">
            <a:extLst>
              <a:ext uri="{FF2B5EF4-FFF2-40B4-BE49-F238E27FC236}">
                <a16:creationId xmlns:a16="http://schemas.microsoft.com/office/drawing/2014/main" id="{4DC51544-453E-B591-C04D-2CC3CCC43AB0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5176838" y="4235450"/>
            <a:ext cx="1103313" cy="79375"/>
          </a:xfrm>
          <a:prstGeom prst="rect">
            <a:avLst/>
          </a:prstGeom>
          <a:solidFill>
            <a:srgbClr val="7196FE"/>
          </a:solidFill>
          <a:ln w="19050" cap="flat" cmpd="sng" algn="ctr">
            <a:noFill/>
            <a:prstDash val="dash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7196FE"/>
                </a:solidFill>
                <a:prstDash val="dash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747EAE93-E255-0108-E1E4-BFE6B8A6919B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6113464" y="3938588"/>
            <a:ext cx="701675" cy="79375"/>
          </a:xfrm>
          <a:prstGeom prst="rect">
            <a:avLst/>
          </a:prstGeom>
          <a:solidFill>
            <a:srgbClr val="7196FE"/>
          </a:solidFill>
          <a:ln w="19050" cap="flat" cmpd="sng" algn="ctr">
            <a:noFill/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6" name="Rectangle 335">
            <a:extLst>
              <a:ext uri="{FF2B5EF4-FFF2-40B4-BE49-F238E27FC236}">
                <a16:creationId xmlns:a16="http://schemas.microsoft.com/office/drawing/2014/main" id="{8D7F12E0-AAA5-1676-1AB4-2CE8586562B4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4005264" y="2979738"/>
            <a:ext cx="703263" cy="79375"/>
          </a:xfrm>
          <a:prstGeom prst="rect">
            <a:avLst/>
          </a:prstGeom>
          <a:solidFill>
            <a:schemeClr val="accent5"/>
          </a:solidFill>
          <a:ln w="19050" algn="ctr"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4" name="Arrow: Right 453">
            <a:extLst>
              <a:ext uri="{FF2B5EF4-FFF2-40B4-BE49-F238E27FC236}">
                <a16:creationId xmlns:a16="http://schemas.microsoft.com/office/drawing/2014/main" id="{1631E3AC-3A6C-F2D1-915A-C1BF1EC5AC20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10059988" y="2455863"/>
            <a:ext cx="369888" cy="120650"/>
          </a:xfrm>
          <a:prstGeom prst="rightArrow">
            <a:avLst>
              <a:gd name="adj1" fmla="val 50000"/>
              <a:gd name="adj2" fmla="val 40660"/>
            </a:avLst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455" name="Arrow: Right 454">
            <a:extLst>
              <a:ext uri="{FF2B5EF4-FFF2-40B4-BE49-F238E27FC236}">
                <a16:creationId xmlns:a16="http://schemas.microsoft.com/office/drawing/2014/main" id="{F963F3F5-F886-FC2E-6DEC-531BF0B6FDD2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10059988" y="2733675"/>
            <a:ext cx="369888" cy="120650"/>
          </a:xfrm>
          <a:prstGeom prst="rightArrow">
            <a:avLst>
              <a:gd name="adj1" fmla="val 50000"/>
              <a:gd name="adj2" fmla="val 40660"/>
            </a:avLst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36D9B11-3050-7C23-F7F2-AE0E78A5427B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7734300" y="3197225"/>
            <a:ext cx="36513" cy="603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B41E6741-BB0A-5AAC-6AD1-66C358117DAF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6481763" y="3448050"/>
            <a:ext cx="1270000" cy="603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1" name="Rectangle 490">
            <a:extLst>
              <a:ext uri="{FF2B5EF4-FFF2-40B4-BE49-F238E27FC236}">
                <a16:creationId xmlns:a16="http://schemas.microsoft.com/office/drawing/2014/main" id="{E0DEB444-BD58-9DCA-2E44-E390CEE84ABE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5176839" y="2486025"/>
            <a:ext cx="2574925" cy="603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7" name="Rectangle 516">
            <a:extLst>
              <a:ext uri="{FF2B5EF4-FFF2-40B4-BE49-F238E27FC236}">
                <a16:creationId xmlns:a16="http://schemas.microsoft.com/office/drawing/2014/main" id="{1939AFC2-B972-7EDD-18D9-344D90937A2E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5176839" y="2763838"/>
            <a:ext cx="2574925" cy="60325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rgbClr val="C4D3FF"/>
            </a:solidFill>
            <a:prstDash val="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079BBE90-0DBD-03C0-4F7E-25CACCB7017C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4708525" y="2989263"/>
            <a:ext cx="3043238" cy="603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4D2F6211-A48C-5A8B-C29C-F89EFCA86E66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6481763" y="3197225"/>
            <a:ext cx="1270000" cy="603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503" name="Rectangle 502">
            <a:extLst>
              <a:ext uri="{FF2B5EF4-FFF2-40B4-BE49-F238E27FC236}">
                <a16:creationId xmlns:a16="http://schemas.microsoft.com/office/drawing/2014/main" id="{B8904AAA-008D-0079-609D-BC9051DE7DD7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9156700" y="4867275"/>
            <a:ext cx="903288" cy="603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9" name="Rectangle 338">
            <a:extLst>
              <a:ext uri="{FF2B5EF4-FFF2-40B4-BE49-F238E27FC236}">
                <a16:creationId xmlns:a16="http://schemas.microsoft.com/office/drawing/2014/main" id="{85F11FDD-CF37-2F37-F50A-4C7B2D1319EC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4005264" y="3741738"/>
            <a:ext cx="703263" cy="603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C4D3FF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6" name="Right Bracket 565">
            <a:extLst>
              <a:ext uri="{FF2B5EF4-FFF2-40B4-BE49-F238E27FC236}">
                <a16:creationId xmlns:a16="http://schemas.microsoft.com/office/drawing/2014/main" id="{3714FF07-FBE1-0D88-E4E8-9F5244CAADD9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 rot="5400000">
            <a:off x="5622925" y="5780088"/>
            <a:ext cx="107950" cy="534988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8" name="Isosceles Triangle 567">
            <a:extLst>
              <a:ext uri="{FF2B5EF4-FFF2-40B4-BE49-F238E27FC236}">
                <a16:creationId xmlns:a16="http://schemas.microsoft.com/office/drawing/2014/main" id="{1BFD4522-0C65-22C0-6EAE-D90B0C10A16C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 rot="10800000">
            <a:off x="5570538" y="6100763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347" name="Right Bracket 346">
            <a:extLst>
              <a:ext uri="{FF2B5EF4-FFF2-40B4-BE49-F238E27FC236}">
                <a16:creationId xmlns:a16="http://schemas.microsoft.com/office/drawing/2014/main" id="{1A8CD287-CE18-95D5-1F8A-1CE4EC465EE8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 rot="5400000">
            <a:off x="7107238" y="3157538"/>
            <a:ext cx="107950" cy="6313488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6" name="Isosceles Triangle 345">
            <a:extLst>
              <a:ext uri="{FF2B5EF4-FFF2-40B4-BE49-F238E27FC236}">
                <a16:creationId xmlns:a16="http://schemas.microsoft.com/office/drawing/2014/main" id="{E92986F8-F0D9-447C-2EB9-989CB43428E8}"/>
              </a:ext>
            </a:extLst>
          </p:cNvPr>
          <p:cNvSpPr/>
          <p:nvPr>
            <p:custDataLst>
              <p:tags r:id="rId110"/>
            </p:custDataLst>
          </p:nvPr>
        </p:nvSpPr>
        <p:spPr bwMode="auto">
          <a:xfrm rot="10800000">
            <a:off x="7054850" y="6367463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2" name="Right Bracket 131">
            <a:extLst>
              <a:ext uri="{FF2B5EF4-FFF2-40B4-BE49-F238E27FC236}">
                <a16:creationId xmlns:a16="http://schemas.microsoft.com/office/drawing/2014/main" id="{B9265BDE-05AF-5376-5A6F-8E56DE2A15FA}"/>
              </a:ext>
            </a:extLst>
          </p:cNvPr>
          <p:cNvSpPr/>
          <p:nvPr>
            <p:custDataLst>
              <p:tags r:id="rId111"/>
            </p:custDataLst>
          </p:nvPr>
        </p:nvSpPr>
        <p:spPr bwMode="auto">
          <a:xfrm rot="5400000">
            <a:off x="6326188" y="4795838"/>
            <a:ext cx="107950" cy="869950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Isosceles Triangle 138">
            <a:extLst>
              <a:ext uri="{FF2B5EF4-FFF2-40B4-BE49-F238E27FC236}">
                <a16:creationId xmlns:a16="http://schemas.microsoft.com/office/drawing/2014/main" id="{5068DEDC-98BF-8C31-8C26-68582DEEFA65}"/>
              </a:ext>
            </a:extLst>
          </p:cNvPr>
          <p:cNvSpPr/>
          <p:nvPr>
            <p:custDataLst>
              <p:tags r:id="rId112"/>
            </p:custDataLst>
          </p:nvPr>
        </p:nvSpPr>
        <p:spPr bwMode="auto">
          <a:xfrm rot="10800000">
            <a:off x="6273800" y="5284788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519" name="Isosceles Triangle 518">
            <a:extLst>
              <a:ext uri="{FF2B5EF4-FFF2-40B4-BE49-F238E27FC236}">
                <a16:creationId xmlns:a16="http://schemas.microsoft.com/office/drawing/2014/main" id="{546953DA-3A99-57A4-F42E-FDCE7641C124}"/>
              </a:ext>
            </a:extLst>
          </p:cNvPr>
          <p:cNvSpPr/>
          <p:nvPr>
            <p:custDataLst>
              <p:tags r:id="rId113"/>
            </p:custDataLst>
          </p:nvPr>
        </p:nvSpPr>
        <p:spPr bwMode="gray">
          <a:xfrm>
            <a:off x="10009188" y="56324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511" name="Isosceles Triangle 510">
            <a:extLst>
              <a:ext uri="{FF2B5EF4-FFF2-40B4-BE49-F238E27FC236}">
                <a16:creationId xmlns:a16="http://schemas.microsoft.com/office/drawing/2014/main" id="{181F135F-009E-9FE2-F28D-706AB70CF47B}"/>
              </a:ext>
            </a:extLst>
          </p:cNvPr>
          <p:cNvSpPr/>
          <p:nvPr>
            <p:custDataLst>
              <p:tags r:id="rId114"/>
            </p:custDataLst>
          </p:nvPr>
        </p:nvSpPr>
        <p:spPr bwMode="gray">
          <a:xfrm>
            <a:off x="9105900" y="56324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8" name="Isosceles Triangle 347">
            <a:extLst>
              <a:ext uri="{FF2B5EF4-FFF2-40B4-BE49-F238E27FC236}">
                <a16:creationId xmlns:a16="http://schemas.microsoft.com/office/drawing/2014/main" id="{FE2A91AF-05EE-A5A2-FA4D-4FDD746C5098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8169275" y="56324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9" name="Isosceles Triangle 348">
            <a:extLst>
              <a:ext uri="{FF2B5EF4-FFF2-40B4-BE49-F238E27FC236}">
                <a16:creationId xmlns:a16="http://schemas.microsoft.com/office/drawing/2014/main" id="{5CCAF330-73CE-E24B-EDDA-5CFE7A023F7E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7700963" y="56324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8" name="Isosceles Triangle 167">
            <a:extLst>
              <a:ext uri="{FF2B5EF4-FFF2-40B4-BE49-F238E27FC236}">
                <a16:creationId xmlns:a16="http://schemas.microsoft.com/office/drawing/2014/main" id="{30A844FA-0096-CB01-95C0-BC75BA7564EE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6764338" y="56324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350" name="Isosceles Triangle 349">
            <a:extLst>
              <a:ext uri="{FF2B5EF4-FFF2-40B4-BE49-F238E27FC236}">
                <a16:creationId xmlns:a16="http://schemas.microsoft.com/office/drawing/2014/main" id="{5FD43E4C-3CBC-8141-279B-A2B004038321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5126038" y="56324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5" name="Oval 524">
            <a:extLst>
              <a:ext uri="{FF2B5EF4-FFF2-40B4-BE49-F238E27FC236}">
                <a16:creationId xmlns:a16="http://schemas.microsoft.com/office/drawing/2014/main" id="{B540C7D3-8248-2C00-8086-AA45BBEE5FCA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9875838" y="2051050"/>
            <a:ext cx="101600" cy="101600"/>
          </a:xfrm>
          <a:prstGeom prst="ellipse">
            <a:avLst/>
          </a:prstGeom>
          <a:solidFill>
            <a:srgbClr val="7196FE"/>
          </a:solidFill>
          <a:ln w="9525" cap="flat" cmpd="sng" algn="ctr">
            <a:solidFill>
              <a:srgbClr val="7196F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id="{D46C07E4-EA80-9E92-AF04-5F2B6FDAFBED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4657725" y="56324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2" name="Oval 451">
            <a:extLst>
              <a:ext uri="{FF2B5EF4-FFF2-40B4-BE49-F238E27FC236}">
                <a16:creationId xmlns:a16="http://schemas.microsoft.com/office/drawing/2014/main" id="{8535B74A-A5C0-A971-CBE2-DD9B5AD1594A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8705850" y="2051050"/>
            <a:ext cx="101600" cy="101600"/>
          </a:xfrm>
          <a:prstGeom prst="ellipse">
            <a:avLst/>
          </a:prstGeom>
          <a:solidFill>
            <a:srgbClr val="7196FE"/>
          </a:solidFill>
          <a:ln w="9525" cap="flat" cmpd="sng" algn="ctr">
            <a:solidFill>
              <a:srgbClr val="7196F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351" name="Isosceles Triangle 350">
            <a:extLst>
              <a:ext uri="{FF2B5EF4-FFF2-40B4-BE49-F238E27FC236}">
                <a16:creationId xmlns:a16="http://schemas.microsoft.com/office/drawing/2014/main" id="{992686E3-2E6B-8DB1-BAB5-66BEBA2CB9BE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3954463" y="56324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2" name="Oval 351">
            <a:extLst>
              <a:ext uri="{FF2B5EF4-FFF2-40B4-BE49-F238E27FC236}">
                <a16:creationId xmlns:a16="http://schemas.microsoft.com/office/drawing/2014/main" id="{A671B295-FD4F-EAC9-5D09-4895854756F7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7500938" y="2051050"/>
            <a:ext cx="101600" cy="101600"/>
          </a:xfrm>
          <a:prstGeom prst="ellipse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Diamond 20">
            <a:extLst>
              <a:ext uri="{FF2B5EF4-FFF2-40B4-BE49-F238E27FC236}">
                <a16:creationId xmlns:a16="http://schemas.microsoft.com/office/drawing/2014/main" id="{03833E81-5D84-BE11-AE14-732F6DA7F5F3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7700963" y="4224338"/>
            <a:ext cx="101600" cy="1016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Diamond 26">
            <a:extLst>
              <a:ext uri="{FF2B5EF4-FFF2-40B4-BE49-F238E27FC236}">
                <a16:creationId xmlns:a16="http://schemas.microsoft.com/office/drawing/2014/main" id="{1996B724-A5DD-AF11-10B8-508DAC3CD592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7700963" y="3427413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0" name="Diamond 359">
            <a:extLst>
              <a:ext uri="{FF2B5EF4-FFF2-40B4-BE49-F238E27FC236}">
                <a16:creationId xmlns:a16="http://schemas.microsoft.com/office/drawing/2014/main" id="{1C79B60C-B0B9-43DC-222E-C7308A8B2C19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7700963" y="3176588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3" name="Oval 352">
            <a:extLst>
              <a:ext uri="{FF2B5EF4-FFF2-40B4-BE49-F238E27FC236}">
                <a16:creationId xmlns:a16="http://schemas.microsoft.com/office/drawing/2014/main" id="{366BD9C9-F4E0-A2E3-0838-7DFDC1E79D92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6329363" y="2051050"/>
            <a:ext cx="101600" cy="101600"/>
          </a:xfrm>
          <a:prstGeom prst="ellipse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0" name="Diamond 479">
            <a:extLst>
              <a:ext uri="{FF2B5EF4-FFF2-40B4-BE49-F238E27FC236}">
                <a16:creationId xmlns:a16="http://schemas.microsoft.com/office/drawing/2014/main" id="{B27BCC7A-3ADC-3661-E815-2872B6A6F81F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8035925" y="443230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7" name="Diamond 596">
            <a:extLst>
              <a:ext uri="{FF2B5EF4-FFF2-40B4-BE49-F238E27FC236}">
                <a16:creationId xmlns:a16="http://schemas.microsoft.com/office/drawing/2014/main" id="{3E7745A4-98D6-1B46-882F-61AA90AC65CC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6764338" y="3927475"/>
            <a:ext cx="101600" cy="1016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546" name="Diamond 545">
            <a:extLst>
              <a:ext uri="{FF2B5EF4-FFF2-40B4-BE49-F238E27FC236}">
                <a16:creationId xmlns:a16="http://schemas.microsoft.com/office/drawing/2014/main" id="{858352AC-987B-7A95-D4B3-0244CBF01424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6430963" y="3427413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1" name="Diamond 470">
            <a:extLst>
              <a:ext uri="{FF2B5EF4-FFF2-40B4-BE49-F238E27FC236}">
                <a16:creationId xmlns:a16="http://schemas.microsoft.com/office/drawing/2014/main" id="{33924833-B900-025B-41C1-4A1E918E4F60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5126038" y="443230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9" name="Diamond 488">
            <a:extLst>
              <a:ext uri="{FF2B5EF4-FFF2-40B4-BE49-F238E27FC236}">
                <a16:creationId xmlns:a16="http://schemas.microsoft.com/office/drawing/2014/main" id="{65838994-7BE0-3E83-5D91-61CD73F99333}"/>
              </a:ext>
            </a:extLst>
          </p:cNvPr>
          <p:cNvSpPr/>
          <p:nvPr>
            <p:custDataLst>
              <p:tags r:id="rId132"/>
            </p:custDataLst>
          </p:nvPr>
        </p:nvSpPr>
        <p:spPr bwMode="gray">
          <a:xfrm>
            <a:off x="7700963" y="4638675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Diamond 170">
            <a:extLst>
              <a:ext uri="{FF2B5EF4-FFF2-40B4-BE49-F238E27FC236}">
                <a16:creationId xmlns:a16="http://schemas.microsoft.com/office/drawing/2014/main" id="{FD6FA92F-3CDA-A928-8A97-CF4DBF4066B4}"/>
              </a:ext>
            </a:extLst>
          </p:cNvPr>
          <p:cNvSpPr/>
          <p:nvPr>
            <p:custDataLst>
              <p:tags r:id="rId133"/>
            </p:custDataLst>
          </p:nvPr>
        </p:nvSpPr>
        <p:spPr bwMode="gray">
          <a:xfrm>
            <a:off x="9540875" y="514350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467" name="Oval 466">
            <a:extLst>
              <a:ext uri="{FF2B5EF4-FFF2-40B4-BE49-F238E27FC236}">
                <a16:creationId xmlns:a16="http://schemas.microsoft.com/office/drawing/2014/main" id="{9B43B253-6174-1EAF-11AC-B4148C94C4E1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5192713" y="2051050"/>
            <a:ext cx="101600" cy="101600"/>
          </a:xfrm>
          <a:prstGeom prst="ellipse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id="{5B48B389-1FD3-7FB3-9E40-8AE377E6C31D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6430963" y="3176588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3" name="Diamond 462">
            <a:extLst>
              <a:ext uri="{FF2B5EF4-FFF2-40B4-BE49-F238E27FC236}">
                <a16:creationId xmlns:a16="http://schemas.microsoft.com/office/drawing/2014/main" id="{AC0E5108-A9B0-0105-5766-4C5BCA07858E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6229350" y="4224338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8" name="Textplatzhalter 2">
            <a:extLst>
              <a:ext uri="{FF2B5EF4-FFF2-40B4-BE49-F238E27FC236}">
                <a16:creationId xmlns:a16="http://schemas.microsoft.com/office/drawing/2014/main" id="{E5D20CF9-3659-04D1-D421-A38728B128AE}"/>
              </a:ext>
            </a:extLst>
          </p:cNvPr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1479550" y="2462213"/>
            <a:ext cx="146843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Functional Solution Design</a:t>
            </a:r>
          </a:p>
        </p:txBody>
      </p:sp>
      <p:sp>
        <p:nvSpPr>
          <p:cNvPr id="605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5349875" y="2573338"/>
            <a:ext cx="2228850" cy="171450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Solution Design updated based on testing outputs</a:t>
            </a:r>
            <a:endParaRPr lang="en-US" sz="80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6" name="Szöveg helye 2">
            <a:extLst>
              <a:ext uri="{FF2B5EF4-FFF2-40B4-BE49-F238E27FC236}">
                <a16:creationId xmlns:a16="http://schemas.microsoft.com/office/drawing/2014/main" id="{BCDB7A6E-F3B8-2570-8D78-D9BB67D48839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4843463" y="4556125"/>
            <a:ext cx="666750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tx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Foundation</a:t>
            </a:r>
            <a:endParaRPr lang="en-US" sz="80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78" name="Textplatzhalter 2">
            <a:extLst>
              <a:ext uri="{FF2B5EF4-FFF2-40B4-BE49-F238E27FC236}">
                <a16:creationId xmlns:a16="http://schemas.microsoft.com/office/drawing/2014/main" id="{D139D09F-1410-783E-0D75-21632DD0FB69}"/>
              </a:ext>
            </a:extLst>
          </p:cNvPr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1479550" y="3173413"/>
            <a:ext cx="117316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AI Agent optimization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Open Sauce One" panose="00000500000000000000" pitchFamily="2" charset="0"/>
            </a:endParaRPr>
          </a:p>
        </p:txBody>
      </p:sp>
      <p:sp useBgFill="1">
        <p:nvSpPr>
          <p:cNvPr id="476" name="Szöveg helye 2">
            <a:extLst>
              <a:ext uri="{FF2B5EF4-FFF2-40B4-BE49-F238E27FC236}">
                <a16:creationId xmlns:a16="http://schemas.microsoft.com/office/drawing/2014/main" id="{BA8AC407-3AFD-2E22-5EA7-851B71604AC0}"/>
              </a:ext>
            </a:extLst>
          </p:cNvPr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8178800" y="4397375"/>
            <a:ext cx="147161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tx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ser readiness for E.ON Solution</a:t>
            </a:r>
            <a:endParaRPr lang="en-US" sz="80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0" name="Szöveg helye 2">
            <a:extLst>
              <a:ext uri="{FF2B5EF4-FFF2-40B4-BE49-F238E27FC236}">
                <a16:creationId xmlns:a16="http://schemas.microsoft.com/office/drawing/2014/main" id="{CBDBE2B1-DE7A-70B8-9DA5-650967047D67}"/>
              </a:ext>
            </a:extLst>
          </p:cNvPr>
          <p:cNvSpPr>
            <a:spLocks noGrp="1"/>
          </p:cNvSpPr>
          <p:nvPr>
            <p:custDataLst>
              <p:tags r:id="rId142"/>
            </p:custDataLst>
          </p:nvPr>
        </p:nvSpPr>
        <p:spPr bwMode="auto">
          <a:xfrm>
            <a:off x="11304588" y="2255838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79" name="Textplatzhalter 2">
            <a:extLst>
              <a:ext uri="{FF2B5EF4-FFF2-40B4-BE49-F238E27FC236}">
                <a16:creationId xmlns:a16="http://schemas.microsoft.com/office/drawing/2014/main" id="{DA0BF4B0-2806-13AE-8DEB-89163C71212D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auto">
          <a:xfrm>
            <a:off x="1479550" y="4429125"/>
            <a:ext cx="69056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User training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Open Sauce One" panose="00000500000000000000" pitchFamily="2" charset="0"/>
            </a:endParaRPr>
          </a:p>
        </p:txBody>
      </p:sp>
      <p:sp>
        <p:nvSpPr>
          <p:cNvPr id="128" name="Szöveg helye 2">
            <a:extLst>
              <a:ext uri="{FF2B5EF4-FFF2-40B4-BE49-F238E27FC236}">
                <a16:creationId xmlns:a16="http://schemas.microsoft.com/office/drawing/2014/main" id="{B48F9088-78D5-064C-C8B2-5ECF3FCA0AD2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10471149" y="4429125"/>
            <a:ext cx="750888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PM, E.ON FT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30" name="Szöveg helye 2">
            <a:extLst>
              <a:ext uri="{FF2B5EF4-FFF2-40B4-BE49-F238E27FC236}">
                <a16:creationId xmlns:a16="http://schemas.microsoft.com/office/drawing/2014/main" id="{267FDEF8-1231-D9A4-54E4-0DC558CD432F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11304587" y="4429125"/>
            <a:ext cx="242888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.ON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65" name="Szöveg helye 2">
            <a:extLst>
              <a:ext uri="{FF2B5EF4-FFF2-40B4-BE49-F238E27FC236}">
                <a16:creationId xmlns:a16="http://schemas.microsoft.com/office/drawing/2014/main" id="{EE143D9E-2063-1147-2D0E-5064797A1525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auto">
          <a:xfrm>
            <a:off x="10471150" y="2255838"/>
            <a:ext cx="71755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SA, E.ON FT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99" name="Textplatzhalter 2">
            <a:extLst>
              <a:ext uri="{FF2B5EF4-FFF2-40B4-BE49-F238E27FC236}">
                <a16:creationId xmlns:a16="http://schemas.microsoft.com/office/drawing/2014/main" id="{4018CE6B-F25E-4E61-873E-D3979B26CA5E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auto">
          <a:xfrm>
            <a:off x="1479550" y="2255838"/>
            <a:ext cx="15208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Current State Assessments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Open Sauce One" panose="00000500000000000000" pitchFamily="2" charset="0"/>
            </a:endParaRPr>
          </a:p>
        </p:txBody>
      </p:sp>
      <p:sp useBgFill="1">
        <p:nvSpPr>
          <p:cNvPr id="484" name="Szöveg helye 2">
            <a:extLst>
              <a:ext uri="{FF2B5EF4-FFF2-40B4-BE49-F238E27FC236}">
                <a16:creationId xmlns:a16="http://schemas.microsoft.com/office/drawing/2014/main" id="{0832C30E-3BF0-D1AA-36AF-C5F1B2D18FBA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auto">
          <a:xfrm>
            <a:off x="7443788" y="4762500"/>
            <a:ext cx="617538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tx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ut-over Plan</a:t>
            </a:r>
            <a:endParaRPr lang="en-US" sz="80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30" name="Textplatzhalter 2">
            <a:extLst>
              <a:ext uri="{FF2B5EF4-FFF2-40B4-BE49-F238E27FC236}">
                <a16:creationId xmlns:a16="http://schemas.microsoft.com/office/drawing/2014/main" id="{039977E7-E7E2-CDDD-36BC-011D7977ACE5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auto">
          <a:xfrm>
            <a:off x="7470775" y="3300413"/>
            <a:ext cx="563563" cy="1095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en-US" sz="800">
                <a:effectLst/>
                <a:latin typeface="Open Sauce One" panose="00000500000000000000" pitchFamily="2" charset="0"/>
              </a:rPr>
              <a:t>AI Agent v2</a:t>
            </a:r>
            <a:endParaRPr kumimoji="0" lang="en-GB" sz="8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34" name="Textplatzhalter 2">
            <a:extLst>
              <a:ext uri="{FF2B5EF4-FFF2-40B4-BE49-F238E27FC236}">
                <a16:creationId xmlns:a16="http://schemas.microsoft.com/office/drawing/2014/main" id="{52321791-73C6-5D1D-C2F1-0C7CEC253F3F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1479550" y="4635500"/>
            <a:ext cx="730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>
                <a:solidFill>
                  <a:srgbClr val="808080"/>
                </a:solidFill>
                <a:latin typeface="Open Sauce One" panose="00000500000000000000" pitchFamily="2" charset="0"/>
              </a:rPr>
              <a:t>Prod Cutover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Open Sauce One" panose="00000500000000000000" pitchFamily="2" charset="0"/>
              <a:sym typeface="Open Sauce One" panose="00000500000000000000" pitchFamily="2" charset="0"/>
            </a:endParaRPr>
          </a:p>
        </p:txBody>
      </p:sp>
      <p:sp>
        <p:nvSpPr>
          <p:cNvPr id="137" name="Szöveg helye 2">
            <a:extLst>
              <a:ext uri="{FF2B5EF4-FFF2-40B4-BE49-F238E27FC236}">
                <a16:creationId xmlns:a16="http://schemas.microsoft.com/office/drawing/2014/main" id="{8A732D61-16F9-A3E9-7FA3-F01F82102904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auto">
          <a:xfrm>
            <a:off x="10471150" y="4635500"/>
            <a:ext cx="77311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COE, E.ON IT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53" name="Szöveg helye 2">
            <a:extLst>
              <a:ext uri="{FF2B5EF4-FFF2-40B4-BE49-F238E27FC236}">
                <a16:creationId xmlns:a16="http://schemas.microsoft.com/office/drawing/2014/main" id="{FA6F5B0F-077C-28E3-BC02-8B0BC3CE48EF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11304588" y="4635500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185" name="Szöveg helye 2">
            <a:extLst>
              <a:ext uri="{FF2B5EF4-FFF2-40B4-BE49-F238E27FC236}">
                <a16:creationId xmlns:a16="http://schemas.microsoft.com/office/drawing/2014/main" id="{CC6FFF62-98A2-FDBA-83D3-3243AD2AB6DD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8455025" y="4954588"/>
            <a:ext cx="46831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percare</a:t>
            </a:r>
            <a:endParaRPr lang="en-US" sz="80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1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11304588" y="2047875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505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9266238" y="4954588"/>
            <a:ext cx="68421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Data Gathering</a:t>
            </a:r>
            <a:endParaRPr lang="en-US" sz="80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61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10471150" y="2047875"/>
            <a:ext cx="7921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Hy PM, E.ON PM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83" name="Textplatzhalter 2">
            <a:extLst>
              <a:ext uri="{FF2B5EF4-FFF2-40B4-BE49-F238E27FC236}">
                <a16:creationId xmlns:a16="http://schemas.microsoft.com/office/drawing/2014/main" id="{B77DA08E-B0E2-019E-6560-9820FBA1FF77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1479550" y="4843463"/>
            <a:ext cx="20161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Hypercare support &amp; Data Gathering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Open Sauce One" panose="00000500000000000000" pitchFamily="2" charset="0"/>
            </a:endParaRPr>
          </a:p>
        </p:txBody>
      </p:sp>
      <p:sp>
        <p:nvSpPr>
          <p:cNvPr id="364" name="Textplatzhalter 2">
            <a:extLst>
              <a:ext uri="{FF2B5EF4-FFF2-40B4-BE49-F238E27FC236}">
                <a16:creationId xmlns:a16="http://schemas.microsoft.com/office/drawing/2014/main" id="{DED3671A-2C14-CECD-E4F0-2CCFB0B84E79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1479550" y="2047875"/>
            <a:ext cx="20097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Project Initiation, Planning &amp; Reviews</a:t>
            </a:r>
          </a:p>
        </p:txBody>
      </p:sp>
      <p:sp>
        <p:nvSpPr>
          <p:cNvPr id="157" name="Szöveg helye 2">
            <a:extLst>
              <a:ext uri="{FF2B5EF4-FFF2-40B4-BE49-F238E27FC236}">
                <a16:creationId xmlns:a16="http://schemas.microsoft.com/office/drawing/2014/main" id="{B8055326-2F1A-D8C5-824C-C20C8F41CA09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11304588" y="4843463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6" name="Szöveg helye 2">
            <a:extLst>
              <a:ext uri="{FF2B5EF4-FFF2-40B4-BE49-F238E27FC236}">
                <a16:creationId xmlns:a16="http://schemas.microsoft.com/office/drawing/2014/main" id="{FC43D109-FFD7-7947-EE56-E1256CB5F502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9831388" y="5756275"/>
            <a:ext cx="458788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700">
                <a:solidFill>
                  <a:srgbClr val="0038D5"/>
                </a:solidFill>
              </a:rPr>
              <a:t>Roll-out </a:t>
            </a:r>
            <a:br>
              <a:rPr lang="en-US" altLang="en-US" sz="700">
                <a:solidFill>
                  <a:srgbClr val="0038D5"/>
                </a:solidFill>
              </a:rPr>
            </a:br>
            <a:r>
              <a:rPr lang="en-US" altLang="en-US" sz="700">
                <a:solidFill>
                  <a:srgbClr val="0038D5"/>
                </a:solidFill>
              </a:rPr>
              <a:t>Go/NO Go</a:t>
            </a:r>
            <a:endParaRPr lang="en-US" sz="700">
              <a:solidFill>
                <a:srgbClr val="0038D5"/>
              </a:solidFill>
              <a:sym typeface="Lato" panose="020F0502020204030203" pitchFamily="34" charset="0"/>
            </a:endParaRPr>
          </a:p>
        </p:txBody>
      </p:sp>
      <p:sp>
        <p:nvSpPr>
          <p:cNvPr id="508" name="Szöveg helye 2">
            <a:extLst>
              <a:ext uri="{FF2B5EF4-FFF2-40B4-BE49-F238E27FC236}">
                <a16:creationId xmlns:a16="http://schemas.microsoft.com/office/drawing/2014/main" id="{1A1B6774-6148-3AAF-4AE5-A24E1EAA5EC9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8931275" y="5756275"/>
            <a:ext cx="450850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700">
                <a:solidFill>
                  <a:srgbClr val="0038D5"/>
                </a:solidFill>
              </a:rPr>
              <a:t>Hypercare</a:t>
            </a:r>
            <a:br>
              <a:rPr lang="en-US" altLang="en-US" sz="700">
                <a:solidFill>
                  <a:srgbClr val="0038D5"/>
                </a:solidFill>
              </a:rPr>
            </a:br>
            <a:r>
              <a:rPr lang="en-US" altLang="en-US" sz="700">
                <a:solidFill>
                  <a:srgbClr val="0038D5"/>
                </a:solidFill>
              </a:rPr>
              <a:t> end</a:t>
            </a:r>
            <a:endParaRPr lang="en-US" sz="700">
              <a:solidFill>
                <a:srgbClr val="0038D5"/>
              </a:solidFill>
              <a:sym typeface="Lato" panose="020F0502020204030203" pitchFamily="34" charset="0"/>
            </a:endParaRPr>
          </a:p>
        </p:txBody>
      </p:sp>
      <p:sp>
        <p:nvSpPr>
          <p:cNvPr id="575" name="Textplatzhalter 2">
            <a:extLst>
              <a:ext uri="{FF2B5EF4-FFF2-40B4-BE49-F238E27FC236}">
                <a16:creationId xmlns:a16="http://schemas.microsoft.com/office/drawing/2014/main" id="{B9C75DC4-A186-F80F-B4FF-417276A2BEA6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5899150" y="5410200"/>
            <a:ext cx="963613" cy="9525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700">
                <a:solidFill>
                  <a:srgbClr val="0038D5"/>
                </a:solidFill>
                <a:effectLst/>
                <a:latin typeface="Open Sauce One" panose="00000500000000000000" pitchFamily="2" charset="0"/>
              </a:rPr>
              <a:t>E.ON Year end closing</a:t>
            </a:r>
            <a:endParaRPr kumimoji="0" lang="en-GB" sz="700" b="0" i="0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0000500000000000000" pitchFamily="2" charset="0"/>
              <a:sym typeface="Open Sauce One" panose="00000500000000000000" pitchFamily="2" charset="0"/>
            </a:endParaRPr>
          </a:p>
        </p:txBody>
      </p:sp>
      <p:sp useBgFill="1">
        <p:nvSpPr>
          <p:cNvPr id="166" name="Szöveg helye 2">
            <a:extLst>
              <a:ext uri="{FF2B5EF4-FFF2-40B4-BE49-F238E27FC236}">
                <a16:creationId xmlns:a16="http://schemas.microsoft.com/office/drawing/2014/main" id="{AC9760BE-0DF9-8DDD-65F3-1E6827ACA647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9280525" y="5267325"/>
            <a:ext cx="623888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>
                <a:solidFill>
                  <a:schemeClr val="tx1"/>
                </a:solidFill>
                <a:sym typeface="Lato" panose="020F0502020204030203" pitchFamily="34" charset="0"/>
              </a:rPr>
              <a:t>Roll-out Plan</a:t>
            </a:r>
          </a:p>
        </p:txBody>
      </p:sp>
      <p:sp>
        <p:nvSpPr>
          <p:cNvPr id="614" name="Szöveg helye 2">
            <a:extLst>
              <a:ext uri="{FF2B5EF4-FFF2-40B4-BE49-F238E27FC236}">
                <a16:creationId xmlns:a16="http://schemas.microsoft.com/office/drawing/2014/main" id="{ACA41144-91C8-475A-BF65-6226D456C774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5957888" y="3551238"/>
            <a:ext cx="1047750" cy="171450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Hy Studio &amp; Insights v1</a:t>
            </a:r>
          </a:p>
        </p:txBody>
      </p:sp>
      <p:sp>
        <p:nvSpPr>
          <p:cNvPr id="528" name="Textplatzhalter 2">
            <a:extLst>
              <a:ext uri="{FF2B5EF4-FFF2-40B4-BE49-F238E27FC236}">
                <a16:creationId xmlns:a16="http://schemas.microsoft.com/office/drawing/2014/main" id="{E014D716-5D1B-D3B3-5091-E9F0D23EF434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1479550" y="5140325"/>
            <a:ext cx="42227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Wave 2</a:t>
            </a:r>
          </a:p>
        </p:txBody>
      </p:sp>
      <p:sp>
        <p:nvSpPr>
          <p:cNvPr id="159" name="Szöveg helye 2">
            <a:extLst>
              <a:ext uri="{FF2B5EF4-FFF2-40B4-BE49-F238E27FC236}">
                <a16:creationId xmlns:a16="http://schemas.microsoft.com/office/drawing/2014/main" id="{FA69B7CF-70A0-B3B7-C0DD-42A9281F6F77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10471150" y="5140325"/>
            <a:ext cx="31591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PM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61" name="Szöveg helye 2">
            <a:extLst>
              <a:ext uri="{FF2B5EF4-FFF2-40B4-BE49-F238E27FC236}">
                <a16:creationId xmlns:a16="http://schemas.microsoft.com/office/drawing/2014/main" id="{08CFD4D9-6B2C-4F3B-85CD-4827ADE9D68D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11304588" y="5140325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97" name="Textplatzhalter 2">
            <a:extLst>
              <a:ext uri="{FF2B5EF4-FFF2-40B4-BE49-F238E27FC236}">
                <a16:creationId xmlns:a16="http://schemas.microsoft.com/office/drawing/2014/main" id="{AE36B680-C321-492E-AAF3-53AA23B428AC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8005763" y="5756275"/>
            <a:ext cx="5270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Go-live date</a:t>
            </a:r>
          </a:p>
        </p:txBody>
      </p:sp>
      <p:sp>
        <p:nvSpPr>
          <p:cNvPr id="365" name="Textplatzhalter 2">
            <a:extLst>
              <a:ext uri="{FF2B5EF4-FFF2-40B4-BE49-F238E27FC236}">
                <a16:creationId xmlns:a16="http://schemas.microsoft.com/office/drawing/2014/main" id="{23B1353A-CC5B-553B-2F1B-F413E6A5309C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1479550" y="1897063"/>
            <a:ext cx="4238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Activiti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6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10471150" y="1835150"/>
            <a:ext cx="54292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>
                <a:solidFill>
                  <a:schemeClr val="accent1"/>
                </a:solidFill>
                <a:latin typeface="Lato" panose="020F0502020204030203" pitchFamily="34" charset="0"/>
                <a:sym typeface="Lato" panose="020F0502020204030203" pitchFamily="34" charset="0"/>
              </a:rPr>
              <a:t>Responsible</a:t>
            </a:r>
          </a:p>
        </p:txBody>
      </p:sp>
      <p:sp>
        <p:nvSpPr>
          <p:cNvPr id="479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11304588" y="1835150"/>
            <a:ext cx="312738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solidFill>
                  <a:schemeClr val="accent1"/>
                </a:solidFill>
                <a:effectLst/>
                <a:latin typeface="Lato" panose="020F0502020204030203" pitchFamily="34" charset="0"/>
                <a:sym typeface="Lato" panose="020F0502020204030203" pitchFamily="34" charset="0"/>
              </a:rPr>
              <a:t>Owner</a:t>
            </a:r>
            <a:endParaRPr lang="en-US" sz="800" b="1">
              <a:solidFill>
                <a:schemeClr val="accent1"/>
              </a:solidFill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94" name="Textplatzhalter 2">
            <a:extLst>
              <a:ext uri="{FF2B5EF4-FFF2-40B4-BE49-F238E27FC236}">
                <a16:creationId xmlns:a16="http://schemas.microsoft.com/office/drawing/2014/main" id="{0733A97F-5A4D-06C3-AC08-B3652CE85027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7435850" y="5756275"/>
            <a:ext cx="534988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Go-live Dat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decision</a:t>
            </a:r>
          </a:p>
        </p:txBody>
      </p:sp>
      <p:sp>
        <p:nvSpPr>
          <p:cNvPr id="163" name="Textplatzhalter 2">
            <a:extLst>
              <a:ext uri="{FF2B5EF4-FFF2-40B4-BE49-F238E27FC236}">
                <a16:creationId xmlns:a16="http://schemas.microsoft.com/office/drawing/2014/main" id="{1035E729-6B82-DC03-F99D-5DA6A61B3B3B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6575425" y="5756275"/>
            <a:ext cx="47942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700">
                <a:solidFill>
                  <a:srgbClr val="0038D5"/>
                </a:solidFill>
                <a:latin typeface="Open Sauce One" panose="00000500000000000000" pitchFamily="2" charset="0"/>
              </a:rPr>
              <a:t>UAT Ready</a:t>
            </a:r>
            <a:endParaRPr kumimoji="0" lang="en-GB" sz="700" b="0" i="0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0000500000000000000" pitchFamily="2" charset="0"/>
              <a:sym typeface="Open Sauce One" panose="00000500000000000000" pitchFamily="2" charset="0"/>
            </a:endParaRPr>
          </a:p>
        </p:txBody>
      </p:sp>
      <p:sp>
        <p:nvSpPr>
          <p:cNvPr id="387" name="Textplatzhalter 2">
            <a:extLst>
              <a:ext uri="{FF2B5EF4-FFF2-40B4-BE49-F238E27FC236}">
                <a16:creationId xmlns:a16="http://schemas.microsoft.com/office/drawing/2014/main" id="{71A40F5B-D753-4529-87EF-714B5905D9E5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5094288" y="5756275"/>
            <a:ext cx="33972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Design </a:t>
            </a:r>
            <a:br>
              <a:rPr kumimoji="0" lang="en-GB" altLang="en-US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</a:br>
            <a:r>
              <a:rPr kumimoji="0" lang="en-GB" altLang="en-US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Sign-off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Open Sauce One" panose="00000500000000000000" pitchFamily="2" charset="0"/>
            </a:endParaRPr>
          </a:p>
        </p:txBody>
      </p:sp>
      <p:sp>
        <p:nvSpPr>
          <p:cNvPr id="51" name="Szöveg helye 2">
            <a:extLst>
              <a:ext uri="{FF2B5EF4-FFF2-40B4-BE49-F238E27FC236}">
                <a16:creationId xmlns:a16="http://schemas.microsoft.com/office/drawing/2014/main" id="{9EA8649C-0E40-5B2B-6026-8BAA131EE4FD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auto">
          <a:xfrm>
            <a:off x="4246563" y="5756275"/>
            <a:ext cx="812800" cy="447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196FE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700">
                <a:solidFill>
                  <a:srgbClr val="0038D5"/>
                </a:solidFill>
              </a:rPr>
              <a:t>Hy SAP connector </a:t>
            </a:r>
            <a:br>
              <a:rPr lang="en-US" altLang="en-US" sz="700">
                <a:solidFill>
                  <a:srgbClr val="0038D5"/>
                </a:solidFill>
              </a:rPr>
            </a:br>
            <a:r>
              <a:rPr lang="en-US" altLang="en-US" sz="700">
                <a:solidFill>
                  <a:srgbClr val="0038D5"/>
                </a:solidFill>
              </a:rPr>
              <a:t>&amp; training data</a:t>
            </a:r>
            <a:br>
              <a:rPr lang="en-US" altLang="en-US" sz="700">
                <a:solidFill>
                  <a:srgbClr val="0038D5"/>
                </a:solidFill>
              </a:rPr>
            </a:br>
            <a:r>
              <a:rPr lang="en-US" altLang="en-US" sz="700">
                <a:solidFill>
                  <a:srgbClr val="0038D5"/>
                </a:solidFill>
              </a:rPr>
              <a:t> readiness</a:t>
            </a:r>
            <a:endParaRPr lang="en-US" sz="700">
              <a:solidFill>
                <a:srgbClr val="0038D5"/>
              </a:solidFill>
              <a:sym typeface="Lato" panose="020F0502020204030203" pitchFamily="34" charset="0"/>
            </a:endParaRPr>
          </a:p>
        </p:txBody>
      </p:sp>
      <p:sp>
        <p:nvSpPr>
          <p:cNvPr id="391" name="Textplatzhalter 2">
            <a:extLst>
              <a:ext uri="{FF2B5EF4-FFF2-40B4-BE49-F238E27FC236}">
                <a16:creationId xmlns:a16="http://schemas.microsoft.com/office/drawing/2014/main" id="{AD5C6766-E451-DD01-7299-3B0A87A4CB3D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3624263" y="5756275"/>
            <a:ext cx="58737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sym typeface="Open Sauce One" panose="00000500000000000000" pitchFamily="2" charset="0"/>
              </a:rPr>
              <a:t>Kick-off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altLang="en-US" sz="700">
                <a:solidFill>
                  <a:srgbClr val="0038D5"/>
                </a:solidFill>
                <a:latin typeface="Open Sauce One" panose="00000500000000000000" pitchFamily="2" charset="0"/>
                <a:sym typeface="Open Sauce One" panose="00000500000000000000" pitchFamily="2" charset="0"/>
              </a:rPr>
              <a:t>&amp;</a:t>
            </a:r>
            <a:r>
              <a:rPr kumimoji="0" lang="en-GB" altLang="en-US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sym typeface="Open Sauce One" panose="00000500000000000000" pitchFamily="2" charset="0"/>
              </a:rPr>
              <a:t> Workshops</a:t>
            </a:r>
          </a:p>
        </p:txBody>
      </p:sp>
      <p:sp>
        <p:nvSpPr>
          <p:cNvPr id="389" name="Textplatzhalter 2">
            <a:extLst>
              <a:ext uri="{FF2B5EF4-FFF2-40B4-BE49-F238E27FC236}">
                <a16:creationId xmlns:a16="http://schemas.microsoft.com/office/drawing/2014/main" id="{CFAAEE83-3EEB-A3FC-1D2C-921E6DC6096C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5235575" y="6492875"/>
            <a:ext cx="385286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700" b="0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~ 6 months Pilot phase period (4 months of implementation + 2 productive testing period)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Open Sauce One" panose="00000500000000000000" pitchFamily="2" charset="0"/>
            </a:endParaRPr>
          </a:p>
        </p:txBody>
      </p:sp>
      <p:sp>
        <p:nvSpPr>
          <p:cNvPr id="563" name="Textplatzhalter 2">
            <a:extLst>
              <a:ext uri="{FF2B5EF4-FFF2-40B4-BE49-F238E27FC236}">
                <a16:creationId xmlns:a16="http://schemas.microsoft.com/office/drawing/2014/main" id="{D35B644B-4BD4-113A-89EF-E6CA11A05511}"/>
              </a:ext>
            </a:extLst>
          </p:cNvPr>
          <p:cNvSpPr>
            <a:spLocks noGrp="1"/>
          </p:cNvSpPr>
          <p:nvPr>
            <p:custDataLst>
              <p:tags r:id="rId178"/>
            </p:custDataLst>
          </p:nvPr>
        </p:nvSpPr>
        <p:spPr bwMode="auto">
          <a:xfrm>
            <a:off x="5278438" y="6226175"/>
            <a:ext cx="79851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700">
                <a:solidFill>
                  <a:srgbClr val="0038D5"/>
                </a:solidFill>
                <a:latin typeface="Open Sauce One" panose="00000500000000000000" pitchFamily="2" charset="0"/>
              </a:rPr>
              <a:t>Limited Availability</a:t>
            </a:r>
            <a:endParaRPr kumimoji="0" lang="en-GB" sz="700" b="0" i="0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0000500000000000000" pitchFamily="2" charset="0"/>
              <a:sym typeface="Open Sauce One" panose="00000500000000000000" pitchFamily="2" charset="0"/>
            </a:endParaRPr>
          </a:p>
        </p:txBody>
      </p:sp>
      <p:sp>
        <p:nvSpPr>
          <p:cNvPr id="373" name="Textplatzhalter 2">
            <a:extLst>
              <a:ext uri="{FF2B5EF4-FFF2-40B4-BE49-F238E27FC236}">
                <a16:creationId xmlns:a16="http://schemas.microsoft.com/office/drawing/2014/main" id="{B9BA8C29-E4AF-5EEA-9F34-B34C1ECB8DF7}"/>
              </a:ext>
            </a:extLst>
          </p:cNvPr>
          <p:cNvSpPr>
            <a:spLocks noGrp="1"/>
          </p:cNvSpPr>
          <p:nvPr>
            <p:custDataLst>
              <p:tags r:id="rId179"/>
            </p:custDataLst>
          </p:nvPr>
        </p:nvSpPr>
        <p:spPr bwMode="auto">
          <a:xfrm>
            <a:off x="3322638" y="1897063"/>
            <a:ext cx="1730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CW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51" name="Szöveg helye 2">
            <a:extLst>
              <a:ext uri="{FF2B5EF4-FFF2-40B4-BE49-F238E27FC236}">
                <a16:creationId xmlns:a16="http://schemas.microsoft.com/office/drawing/2014/main" id="{050DA169-BDC9-F6F2-84B3-57313A5BB480}"/>
              </a:ext>
            </a:extLst>
          </p:cNvPr>
          <p:cNvSpPr>
            <a:spLocks noGrp="1"/>
          </p:cNvSpPr>
          <p:nvPr>
            <p:custDataLst>
              <p:tags r:id="rId180"/>
            </p:custDataLst>
          </p:nvPr>
        </p:nvSpPr>
        <p:spPr bwMode="auto">
          <a:xfrm>
            <a:off x="11304588" y="3173413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29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181"/>
            </p:custDataLst>
          </p:nvPr>
        </p:nvSpPr>
        <p:spPr bwMode="auto">
          <a:xfrm>
            <a:off x="7227888" y="3551238"/>
            <a:ext cx="1047750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tx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Hy Studio &amp; Insights v2</a:t>
            </a:r>
            <a:endParaRPr lang="en-US" sz="80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612" name="Textplatzhalter 2">
            <a:extLst>
              <a:ext uri="{FF2B5EF4-FFF2-40B4-BE49-F238E27FC236}">
                <a16:creationId xmlns:a16="http://schemas.microsoft.com/office/drawing/2014/main" id="{DEDE25A7-B0A6-3FEF-AC35-082FC52F05B5}"/>
              </a:ext>
            </a:extLst>
          </p:cNvPr>
          <p:cNvSpPr>
            <a:spLocks noGrp="1"/>
          </p:cNvSpPr>
          <p:nvPr>
            <p:custDataLst>
              <p:tags r:id="rId182"/>
            </p:custDataLst>
          </p:nvPr>
        </p:nvSpPr>
        <p:spPr bwMode="auto">
          <a:xfrm>
            <a:off x="6200775" y="3300413"/>
            <a:ext cx="563563" cy="109538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en-US" sz="800">
                <a:effectLst/>
                <a:latin typeface="Open Sauce One" panose="00000500000000000000" pitchFamily="2" charset="0"/>
              </a:rPr>
              <a:t>AI Agent v1</a:t>
            </a:r>
            <a:endParaRPr kumimoji="0" lang="en-GB" sz="800" b="0" i="0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05" name="Textplatzhalter 2">
            <a:extLst>
              <a:ext uri="{FF2B5EF4-FFF2-40B4-BE49-F238E27FC236}">
                <a16:creationId xmlns:a16="http://schemas.microsoft.com/office/drawing/2014/main" id="{F5D74722-28B2-135F-6FB0-E281BA54A999}"/>
              </a:ext>
            </a:extLst>
          </p:cNvPr>
          <p:cNvSpPr>
            <a:spLocks noGrp="1"/>
          </p:cNvSpPr>
          <p:nvPr>
            <p:custDataLst>
              <p:tags r:id="rId183"/>
            </p:custDataLst>
          </p:nvPr>
        </p:nvSpPr>
        <p:spPr bwMode="auto">
          <a:xfrm>
            <a:off x="1479550" y="3424238"/>
            <a:ext cx="15081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Application implementation</a:t>
            </a:r>
          </a:p>
        </p:txBody>
      </p:sp>
      <p:sp>
        <p:nvSpPr>
          <p:cNvPr id="555" name="Szöveg helye 2">
            <a:extLst>
              <a:ext uri="{FF2B5EF4-FFF2-40B4-BE49-F238E27FC236}">
                <a16:creationId xmlns:a16="http://schemas.microsoft.com/office/drawing/2014/main" id="{E3382E55-C758-EDFB-389F-BCF118797CAE}"/>
              </a:ext>
            </a:extLst>
          </p:cNvPr>
          <p:cNvSpPr>
            <a:spLocks noGrp="1"/>
          </p:cNvSpPr>
          <p:nvPr>
            <p:custDataLst>
              <p:tags r:id="rId184"/>
            </p:custDataLst>
          </p:nvPr>
        </p:nvSpPr>
        <p:spPr bwMode="auto">
          <a:xfrm>
            <a:off x="10471150" y="3424238"/>
            <a:ext cx="64135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COE &amp; QA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60" name="Szöveg helye 2">
            <a:extLst>
              <a:ext uri="{FF2B5EF4-FFF2-40B4-BE49-F238E27FC236}">
                <a16:creationId xmlns:a16="http://schemas.microsoft.com/office/drawing/2014/main" id="{F6ACAF06-9724-515B-F9D5-56914FD09706}"/>
              </a:ext>
            </a:extLst>
          </p:cNvPr>
          <p:cNvSpPr>
            <a:spLocks noGrp="1"/>
          </p:cNvSpPr>
          <p:nvPr>
            <p:custDataLst>
              <p:tags r:id="rId185"/>
            </p:custDataLst>
          </p:nvPr>
        </p:nvSpPr>
        <p:spPr bwMode="auto">
          <a:xfrm>
            <a:off x="11304588" y="3424238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47" name="Szöveg helye 2">
            <a:extLst>
              <a:ext uri="{FF2B5EF4-FFF2-40B4-BE49-F238E27FC236}">
                <a16:creationId xmlns:a16="http://schemas.microsoft.com/office/drawing/2014/main" id="{36DD62EC-9415-49D0-11D3-E21B5CB0DB8B}"/>
              </a:ext>
            </a:extLst>
          </p:cNvPr>
          <p:cNvSpPr>
            <a:spLocks noGrp="1"/>
          </p:cNvSpPr>
          <p:nvPr>
            <p:custDataLst>
              <p:tags r:id="rId186"/>
            </p:custDataLst>
          </p:nvPr>
        </p:nvSpPr>
        <p:spPr bwMode="auto">
          <a:xfrm>
            <a:off x="11304588" y="2965450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178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187"/>
            </p:custDataLst>
          </p:nvPr>
        </p:nvSpPr>
        <p:spPr bwMode="auto">
          <a:xfrm>
            <a:off x="4011613" y="3829050"/>
            <a:ext cx="688975" cy="2571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FF005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60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Add-on installation</a:t>
            </a:r>
            <a:br>
              <a:rPr kumimoji="0" lang="en-US" altLang="en-US" sz="60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kumimoji="0" lang="en-US" altLang="en-US" sz="60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Data exports</a:t>
            </a:r>
          </a:p>
        </p:txBody>
      </p:sp>
      <p:sp>
        <p:nvSpPr>
          <p:cNvPr id="545" name="Szöveg helye 2">
            <a:extLst>
              <a:ext uri="{FF2B5EF4-FFF2-40B4-BE49-F238E27FC236}">
                <a16:creationId xmlns:a16="http://schemas.microsoft.com/office/drawing/2014/main" id="{0FE00CEB-0CCA-29EF-60BA-5392DD1D1168}"/>
              </a:ext>
            </a:extLst>
          </p:cNvPr>
          <p:cNvSpPr>
            <a:spLocks noGrp="1"/>
          </p:cNvSpPr>
          <p:nvPr>
            <p:custDataLst>
              <p:tags r:id="rId188"/>
            </p:custDataLst>
          </p:nvPr>
        </p:nvSpPr>
        <p:spPr bwMode="auto">
          <a:xfrm>
            <a:off x="10471150" y="2965450"/>
            <a:ext cx="36512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COE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67" name="Textplatzhalter 2">
            <a:extLst>
              <a:ext uri="{FF2B5EF4-FFF2-40B4-BE49-F238E27FC236}">
                <a16:creationId xmlns:a16="http://schemas.microsoft.com/office/drawing/2014/main" id="{626AB06F-0247-7A5D-8CFB-A8FD26CB92EA}"/>
              </a:ext>
            </a:extLst>
          </p:cNvPr>
          <p:cNvSpPr>
            <a:spLocks noGrp="1"/>
          </p:cNvSpPr>
          <p:nvPr>
            <p:custDataLst>
              <p:tags r:id="rId189"/>
            </p:custDataLst>
          </p:nvPr>
        </p:nvSpPr>
        <p:spPr bwMode="auto">
          <a:xfrm>
            <a:off x="1479550" y="2965450"/>
            <a:ext cx="13589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Training Data Acquisition</a:t>
            </a:r>
          </a:p>
        </p:txBody>
      </p:sp>
      <p:sp>
        <p:nvSpPr>
          <p:cNvPr id="362" name="Textplatzhalter 2">
            <a:extLst>
              <a:ext uri="{FF2B5EF4-FFF2-40B4-BE49-F238E27FC236}">
                <a16:creationId xmlns:a16="http://schemas.microsoft.com/office/drawing/2014/main" id="{A1E63D44-7337-F15D-BF62-9A0803D4E0CE}"/>
              </a:ext>
            </a:extLst>
          </p:cNvPr>
          <p:cNvSpPr>
            <a:spLocks noGrp="1"/>
          </p:cNvSpPr>
          <p:nvPr>
            <p:custDataLst>
              <p:tags r:id="rId190"/>
            </p:custDataLst>
          </p:nvPr>
        </p:nvSpPr>
        <p:spPr bwMode="auto">
          <a:xfrm>
            <a:off x="1479550" y="3717925"/>
            <a:ext cx="147796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Integration implementation</a:t>
            </a:r>
          </a:p>
        </p:txBody>
      </p:sp>
      <p:sp>
        <p:nvSpPr>
          <p:cNvPr id="567" name="Szöveg helye 2">
            <a:extLst>
              <a:ext uri="{FF2B5EF4-FFF2-40B4-BE49-F238E27FC236}">
                <a16:creationId xmlns:a16="http://schemas.microsoft.com/office/drawing/2014/main" id="{A509BF97-A382-5D21-12B4-7E6AA9D3B472}"/>
              </a:ext>
            </a:extLst>
          </p:cNvPr>
          <p:cNvSpPr>
            <a:spLocks noGrp="1"/>
          </p:cNvSpPr>
          <p:nvPr>
            <p:custDataLst>
              <p:tags r:id="rId191"/>
            </p:custDataLst>
          </p:nvPr>
        </p:nvSpPr>
        <p:spPr bwMode="auto">
          <a:xfrm>
            <a:off x="10471150" y="3717925"/>
            <a:ext cx="77311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COE, E.ON IT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62" name="Szöveg helye 2">
            <a:extLst>
              <a:ext uri="{FF2B5EF4-FFF2-40B4-BE49-F238E27FC236}">
                <a16:creationId xmlns:a16="http://schemas.microsoft.com/office/drawing/2014/main" id="{4150E74B-1C43-8E45-FA89-07044DC5F94A}"/>
              </a:ext>
            </a:extLst>
          </p:cNvPr>
          <p:cNvSpPr>
            <a:spLocks noGrp="1"/>
          </p:cNvSpPr>
          <p:nvPr>
            <p:custDataLst>
              <p:tags r:id="rId192"/>
            </p:custDataLst>
          </p:nvPr>
        </p:nvSpPr>
        <p:spPr bwMode="auto">
          <a:xfrm>
            <a:off x="11304587" y="3717925"/>
            <a:ext cx="242888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.ON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6" name="Szöveg helye 2">
            <a:extLst>
              <a:ext uri="{FF2B5EF4-FFF2-40B4-BE49-F238E27FC236}">
                <a16:creationId xmlns:a16="http://schemas.microsoft.com/office/drawing/2014/main" id="{5E12EE01-DCDA-C372-B9DF-8F4AB2C5FEE6}"/>
              </a:ext>
            </a:extLst>
          </p:cNvPr>
          <p:cNvSpPr>
            <a:spLocks noGrp="1"/>
          </p:cNvSpPr>
          <p:nvPr>
            <p:custDataLst>
              <p:tags r:id="rId193"/>
            </p:custDataLst>
          </p:nvPr>
        </p:nvSpPr>
        <p:spPr bwMode="auto">
          <a:xfrm>
            <a:off x="11304588" y="2740025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69" name="Textplatzhalter 2">
            <a:extLst>
              <a:ext uri="{FF2B5EF4-FFF2-40B4-BE49-F238E27FC236}">
                <a16:creationId xmlns:a16="http://schemas.microsoft.com/office/drawing/2014/main" id="{7C0D164D-CFDA-A0B0-F085-6486F1EEB1FC}"/>
              </a:ext>
            </a:extLst>
          </p:cNvPr>
          <p:cNvSpPr>
            <a:spLocks noGrp="1"/>
          </p:cNvSpPr>
          <p:nvPr>
            <p:custDataLst>
              <p:tags r:id="rId194"/>
            </p:custDataLst>
          </p:nvPr>
        </p:nvSpPr>
        <p:spPr bwMode="auto">
          <a:xfrm>
            <a:off x="1479550" y="3924300"/>
            <a:ext cx="14859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System Integration Testing</a:t>
            </a:r>
          </a:p>
        </p:txBody>
      </p:sp>
      <p:sp>
        <p:nvSpPr>
          <p:cNvPr id="569" name="Szöveg helye 2">
            <a:extLst>
              <a:ext uri="{FF2B5EF4-FFF2-40B4-BE49-F238E27FC236}">
                <a16:creationId xmlns:a16="http://schemas.microsoft.com/office/drawing/2014/main" id="{4BEA26D3-0EB1-1538-B5F5-D646E12C3F7A}"/>
              </a:ext>
            </a:extLst>
          </p:cNvPr>
          <p:cNvSpPr>
            <a:spLocks noGrp="1"/>
          </p:cNvSpPr>
          <p:nvPr>
            <p:custDataLst>
              <p:tags r:id="rId195"/>
            </p:custDataLst>
          </p:nvPr>
        </p:nvSpPr>
        <p:spPr bwMode="auto">
          <a:xfrm>
            <a:off x="10471150" y="3924300"/>
            <a:ext cx="3587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.ON IT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65" name="Szöveg helye 2">
            <a:extLst>
              <a:ext uri="{FF2B5EF4-FFF2-40B4-BE49-F238E27FC236}">
                <a16:creationId xmlns:a16="http://schemas.microsoft.com/office/drawing/2014/main" id="{A2248476-E387-161D-14B5-38D33F83D2C0}"/>
              </a:ext>
            </a:extLst>
          </p:cNvPr>
          <p:cNvSpPr>
            <a:spLocks noGrp="1"/>
          </p:cNvSpPr>
          <p:nvPr>
            <p:custDataLst>
              <p:tags r:id="rId196"/>
            </p:custDataLst>
          </p:nvPr>
        </p:nvSpPr>
        <p:spPr bwMode="auto">
          <a:xfrm>
            <a:off x="11304587" y="3924300"/>
            <a:ext cx="242888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.ON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7" name="Szöveg helye 2">
            <a:extLst>
              <a:ext uri="{FF2B5EF4-FFF2-40B4-BE49-F238E27FC236}">
                <a16:creationId xmlns:a16="http://schemas.microsoft.com/office/drawing/2014/main" id="{181F983F-190A-5F9D-613B-B00CE52D1CC4}"/>
              </a:ext>
            </a:extLst>
          </p:cNvPr>
          <p:cNvSpPr>
            <a:spLocks noGrp="1"/>
          </p:cNvSpPr>
          <p:nvPr>
            <p:custDataLst>
              <p:tags r:id="rId197"/>
            </p:custDataLst>
          </p:nvPr>
        </p:nvSpPr>
        <p:spPr bwMode="auto">
          <a:xfrm>
            <a:off x="10471150" y="2740025"/>
            <a:ext cx="6905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SA, E.ON IT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698" name="Textplatzhalter 2">
            <a:extLst>
              <a:ext uri="{FF2B5EF4-FFF2-40B4-BE49-F238E27FC236}">
                <a16:creationId xmlns:a16="http://schemas.microsoft.com/office/drawing/2014/main" id="{056DD6ED-AA6C-43B9-BC45-DD68AA5EFEC4}"/>
              </a:ext>
            </a:extLst>
          </p:cNvPr>
          <p:cNvSpPr>
            <a:spLocks noGrp="1"/>
          </p:cNvSpPr>
          <p:nvPr>
            <p:custDataLst>
              <p:tags r:id="rId198"/>
            </p:custDataLst>
          </p:nvPr>
        </p:nvSpPr>
        <p:spPr bwMode="auto">
          <a:xfrm>
            <a:off x="1479550" y="2740025"/>
            <a:ext cx="14335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Technical Solution Design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Open Sauce One" panose="00000500000000000000" pitchFamily="2" charset="0"/>
            </a:endParaRPr>
          </a:p>
        </p:txBody>
      </p:sp>
      <p:sp>
        <p:nvSpPr>
          <p:cNvPr id="459" name="Szöveg helye 2">
            <a:extLst>
              <a:ext uri="{FF2B5EF4-FFF2-40B4-BE49-F238E27FC236}">
                <a16:creationId xmlns:a16="http://schemas.microsoft.com/office/drawing/2014/main" id="{65010A24-867E-009E-1207-6C9D0AA5D4CE}"/>
              </a:ext>
            </a:extLst>
          </p:cNvPr>
          <p:cNvSpPr>
            <a:spLocks noGrp="1"/>
          </p:cNvSpPr>
          <p:nvPr>
            <p:custDataLst>
              <p:tags r:id="rId199"/>
            </p:custDataLst>
          </p:nvPr>
        </p:nvSpPr>
        <p:spPr bwMode="auto">
          <a:xfrm>
            <a:off x="6061075" y="4348163"/>
            <a:ext cx="438150" cy="171450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tx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est Plan </a:t>
            </a:r>
            <a:endParaRPr lang="en-US" sz="80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53" name="Szöveg helye 2">
            <a:extLst>
              <a:ext uri="{FF2B5EF4-FFF2-40B4-BE49-F238E27FC236}">
                <a16:creationId xmlns:a16="http://schemas.microsoft.com/office/drawing/2014/main" id="{FB2EE4EF-E0E0-690E-DA89-0B25F2F75211}"/>
              </a:ext>
            </a:extLst>
          </p:cNvPr>
          <p:cNvSpPr>
            <a:spLocks noGrp="1"/>
          </p:cNvSpPr>
          <p:nvPr>
            <p:custDataLst>
              <p:tags r:id="rId200"/>
            </p:custDataLst>
          </p:nvPr>
        </p:nvSpPr>
        <p:spPr bwMode="auto">
          <a:xfrm>
            <a:off x="10471150" y="3173413"/>
            <a:ext cx="64135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COE &amp; QA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22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201"/>
            </p:custDataLst>
          </p:nvPr>
        </p:nvSpPr>
        <p:spPr bwMode="auto">
          <a:xfrm>
            <a:off x="7843838" y="4189413"/>
            <a:ext cx="58261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tx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UAT Sign-off</a:t>
            </a:r>
            <a:endParaRPr lang="en-US" sz="80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4" name="Szöveg helye 2">
            <a:extLst>
              <a:ext uri="{FF2B5EF4-FFF2-40B4-BE49-F238E27FC236}">
                <a16:creationId xmlns:a16="http://schemas.microsoft.com/office/drawing/2014/main" id="{FC8B45A6-D102-F4A1-7B8A-E8758EB7B314}"/>
              </a:ext>
            </a:extLst>
          </p:cNvPr>
          <p:cNvSpPr>
            <a:spLocks noGrp="1"/>
          </p:cNvSpPr>
          <p:nvPr>
            <p:custDataLst>
              <p:tags r:id="rId202"/>
            </p:custDataLst>
          </p:nvPr>
        </p:nvSpPr>
        <p:spPr bwMode="auto">
          <a:xfrm>
            <a:off x="11304588" y="2462213"/>
            <a:ext cx="1317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74" name="Textplatzhalter 2">
            <a:extLst>
              <a:ext uri="{FF2B5EF4-FFF2-40B4-BE49-F238E27FC236}">
                <a16:creationId xmlns:a16="http://schemas.microsoft.com/office/drawing/2014/main" id="{7A52EAA8-E2B0-2712-D322-B937E7B8C289}"/>
              </a:ext>
            </a:extLst>
          </p:cNvPr>
          <p:cNvSpPr>
            <a:spLocks noGrp="1"/>
          </p:cNvSpPr>
          <p:nvPr>
            <p:custDataLst>
              <p:tags r:id="rId203"/>
            </p:custDataLst>
          </p:nvPr>
        </p:nvSpPr>
        <p:spPr bwMode="auto">
          <a:xfrm>
            <a:off x="1479550" y="4221163"/>
            <a:ext cx="15732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uce One" panose="00000500000000000000" pitchFamily="2" charset="0"/>
                <a:ea typeface="+mn-ea"/>
                <a:cs typeface="+mn-cs"/>
                <a:sym typeface="Open Sauce One" panose="00000500000000000000" pitchFamily="2" charset="0"/>
              </a:rPr>
              <a:t>UAT (User Acceptance Test)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Open Sauce One" panose="00000500000000000000" pitchFamily="2" charset="0"/>
              <a:ea typeface="+mn-ea"/>
              <a:cs typeface="+mn-cs"/>
              <a:sym typeface="Open Sauce One" panose="00000500000000000000" pitchFamily="2" charset="0"/>
            </a:endParaRPr>
          </a:p>
        </p:txBody>
      </p:sp>
      <p:sp>
        <p:nvSpPr>
          <p:cNvPr id="571" name="Szöveg helye 2">
            <a:extLst>
              <a:ext uri="{FF2B5EF4-FFF2-40B4-BE49-F238E27FC236}">
                <a16:creationId xmlns:a16="http://schemas.microsoft.com/office/drawing/2014/main" id="{E9698E2C-6B17-3CB0-99EA-816354DD8801}"/>
              </a:ext>
            </a:extLst>
          </p:cNvPr>
          <p:cNvSpPr>
            <a:spLocks noGrp="1"/>
          </p:cNvSpPr>
          <p:nvPr>
            <p:custDataLst>
              <p:tags r:id="rId204"/>
            </p:custDataLst>
          </p:nvPr>
        </p:nvSpPr>
        <p:spPr bwMode="auto">
          <a:xfrm>
            <a:off x="10471149" y="4221163"/>
            <a:ext cx="744538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QA, E.ON FT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73" name="Szöveg helye 2">
            <a:extLst>
              <a:ext uri="{FF2B5EF4-FFF2-40B4-BE49-F238E27FC236}">
                <a16:creationId xmlns:a16="http://schemas.microsoft.com/office/drawing/2014/main" id="{00D1F703-D672-9074-1396-03E9BE1F162A}"/>
              </a:ext>
            </a:extLst>
          </p:cNvPr>
          <p:cNvSpPr>
            <a:spLocks noGrp="1"/>
          </p:cNvSpPr>
          <p:nvPr>
            <p:custDataLst>
              <p:tags r:id="rId205"/>
            </p:custDataLst>
          </p:nvPr>
        </p:nvSpPr>
        <p:spPr bwMode="auto">
          <a:xfrm>
            <a:off x="11304587" y="4221163"/>
            <a:ext cx="242888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.ON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2" name="Szöveg helye 2">
            <a:extLst>
              <a:ext uri="{FF2B5EF4-FFF2-40B4-BE49-F238E27FC236}">
                <a16:creationId xmlns:a16="http://schemas.microsoft.com/office/drawing/2014/main" id="{B83C8516-F756-3583-7C0D-2D82EBA9C97F}"/>
              </a:ext>
            </a:extLst>
          </p:cNvPr>
          <p:cNvSpPr>
            <a:spLocks noGrp="1"/>
          </p:cNvSpPr>
          <p:nvPr>
            <p:custDataLst>
              <p:tags r:id="rId206"/>
            </p:custDataLst>
          </p:nvPr>
        </p:nvSpPr>
        <p:spPr bwMode="auto">
          <a:xfrm>
            <a:off x="10471150" y="2462213"/>
            <a:ext cx="71755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SA. E.ON FT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94" name="Szöveg helye 2">
            <a:extLst>
              <a:ext uri="{FF2B5EF4-FFF2-40B4-BE49-F238E27FC236}">
                <a16:creationId xmlns:a16="http://schemas.microsoft.com/office/drawing/2014/main" id="{DD06B8B8-25B6-67F1-7EDF-BF49F558ADEC}"/>
              </a:ext>
            </a:extLst>
          </p:cNvPr>
          <p:cNvSpPr>
            <a:spLocks noGrp="1"/>
          </p:cNvSpPr>
          <p:nvPr>
            <p:custDataLst>
              <p:tags r:id="rId207"/>
            </p:custDataLst>
          </p:nvPr>
        </p:nvSpPr>
        <p:spPr bwMode="auto">
          <a:xfrm>
            <a:off x="6553200" y="4051300"/>
            <a:ext cx="523875" cy="171450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tx1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IT Sign-off</a:t>
            </a:r>
            <a:endParaRPr lang="en-US" sz="800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55" name="Szöveg helye 2">
            <a:extLst>
              <a:ext uri="{FF2B5EF4-FFF2-40B4-BE49-F238E27FC236}">
                <a16:creationId xmlns:a16="http://schemas.microsoft.com/office/drawing/2014/main" id="{A3062083-1339-8B24-E794-01EF68D97F64}"/>
              </a:ext>
            </a:extLst>
          </p:cNvPr>
          <p:cNvSpPr>
            <a:spLocks noGrp="1"/>
          </p:cNvSpPr>
          <p:nvPr>
            <p:custDataLst>
              <p:tags r:id="rId208"/>
            </p:custDataLst>
          </p:nvPr>
        </p:nvSpPr>
        <p:spPr bwMode="auto">
          <a:xfrm>
            <a:off x="10471150" y="4843463"/>
            <a:ext cx="2825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y IM</a:t>
            </a:r>
            <a:endParaRPr lang="en-US" sz="800" b="1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31" name="TextBox 48">
            <a:extLst>
              <a:ext uri="{FF2B5EF4-FFF2-40B4-BE49-F238E27FC236}">
                <a16:creationId xmlns:a16="http://schemas.microsoft.com/office/drawing/2014/main" id="{BCD65A5C-F65C-3A40-57A4-2490DC00FBD0}"/>
              </a:ext>
            </a:extLst>
          </p:cNvPr>
          <p:cNvSpPr txBox="1"/>
          <p:nvPr/>
        </p:nvSpPr>
        <p:spPr>
          <a:xfrm>
            <a:off x="255589" y="5060951"/>
            <a:ext cx="1177924" cy="44345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Roll-outs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67" name="Speech Bubble: Rectangle 166">
            <a:extLst>
              <a:ext uri="{FF2B5EF4-FFF2-40B4-BE49-F238E27FC236}">
                <a16:creationId xmlns:a16="http://schemas.microsoft.com/office/drawing/2014/main" id="{8ABCFAEA-B8B4-9C77-FA1C-1BC2BA3992E3}"/>
              </a:ext>
            </a:extLst>
          </p:cNvPr>
          <p:cNvSpPr/>
          <p:nvPr/>
        </p:nvSpPr>
        <p:spPr>
          <a:xfrm>
            <a:off x="3759599" y="5087966"/>
            <a:ext cx="1043780" cy="318551"/>
          </a:xfrm>
          <a:prstGeom prst="wedgeRectCallout">
            <a:avLst>
              <a:gd name="adj1" fmla="val 41577"/>
              <a:gd name="adj2" fmla="val 126584"/>
            </a:avLst>
          </a:prstGeom>
          <a:solidFill>
            <a:schemeClr val="bg1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00">
                <a:solidFill>
                  <a:schemeClr val="accent1"/>
                </a:solidFill>
                <a:latin typeface="Open Sauce One" panose="00000500000000000000" pitchFamily="2" charset="0"/>
              </a:rPr>
              <a:t>Dependency for subsequent work items and go-live date</a:t>
            </a:r>
          </a:p>
        </p:txBody>
      </p:sp>
      <p:sp>
        <p:nvSpPr>
          <p:cNvPr id="138" name="TextBox 48">
            <a:extLst>
              <a:ext uri="{FF2B5EF4-FFF2-40B4-BE49-F238E27FC236}">
                <a16:creationId xmlns:a16="http://schemas.microsoft.com/office/drawing/2014/main" id="{D5D37A0B-E05F-0FFF-3CEE-3EFC77DE559D}"/>
              </a:ext>
            </a:extLst>
          </p:cNvPr>
          <p:cNvSpPr txBox="1"/>
          <p:nvPr/>
        </p:nvSpPr>
        <p:spPr>
          <a:xfrm>
            <a:off x="46571" y="2020888"/>
            <a:ext cx="1382179" cy="91889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Conceptualization &amp; Planning</a:t>
            </a:r>
          </a:p>
        </p:txBody>
      </p:sp>
      <p:sp>
        <p:nvSpPr>
          <p:cNvPr id="133" name="TextBox 48">
            <a:extLst>
              <a:ext uri="{FF2B5EF4-FFF2-40B4-BE49-F238E27FC236}">
                <a16:creationId xmlns:a16="http://schemas.microsoft.com/office/drawing/2014/main" id="{414B22BA-DC19-0973-668A-C97B9B719D00}"/>
              </a:ext>
            </a:extLst>
          </p:cNvPr>
          <p:cNvSpPr txBox="1"/>
          <p:nvPr/>
        </p:nvSpPr>
        <p:spPr>
          <a:xfrm>
            <a:off x="159543" y="2932114"/>
            <a:ext cx="1269208" cy="44129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AI Training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34" name="TextBox 48">
            <a:extLst>
              <a:ext uri="{FF2B5EF4-FFF2-40B4-BE49-F238E27FC236}">
                <a16:creationId xmlns:a16="http://schemas.microsoft.com/office/drawing/2014/main" id="{543B8F15-E81C-A104-F0CF-277FD86C0984}"/>
              </a:ext>
            </a:extLst>
          </p:cNvPr>
          <p:cNvSpPr txBox="1"/>
          <p:nvPr/>
        </p:nvSpPr>
        <p:spPr>
          <a:xfrm>
            <a:off x="138264" y="3380056"/>
            <a:ext cx="1290488" cy="77577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Implementation Sprints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35" name="TextBox 48">
            <a:extLst>
              <a:ext uri="{FF2B5EF4-FFF2-40B4-BE49-F238E27FC236}">
                <a16:creationId xmlns:a16="http://schemas.microsoft.com/office/drawing/2014/main" id="{85C3C399-2A13-8DD5-15BD-9B046099A66B}"/>
              </a:ext>
            </a:extLst>
          </p:cNvPr>
          <p:cNvSpPr txBox="1"/>
          <p:nvPr/>
        </p:nvSpPr>
        <p:spPr>
          <a:xfrm>
            <a:off x="149217" y="4151887"/>
            <a:ext cx="1284296" cy="909063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Initial Go-live</a:t>
            </a:r>
            <a:b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(MVP)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32" name="TextBox 251">
            <a:extLst>
              <a:ext uri="{FF2B5EF4-FFF2-40B4-BE49-F238E27FC236}">
                <a16:creationId xmlns:a16="http://schemas.microsoft.com/office/drawing/2014/main" id="{D3D2F304-725D-0CF4-FF75-70D40A5D56AE}"/>
              </a:ext>
            </a:extLst>
          </p:cNvPr>
          <p:cNvSpPr txBox="1"/>
          <p:nvPr/>
        </p:nvSpPr>
        <p:spPr>
          <a:xfrm>
            <a:off x="10658588" y="5734119"/>
            <a:ext cx="142376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1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Key to reference:</a:t>
            </a:r>
          </a:p>
          <a:p>
            <a:pPr>
              <a:defRPr/>
            </a:pPr>
            <a:r>
              <a:rPr lang="en-GB" sz="500">
                <a:solidFill>
                  <a:srgbClr val="030436"/>
                </a:solidFill>
                <a:latin typeface="Open Sauce One" pitchFamily="2" charset="0"/>
              </a:rPr>
              <a:t>COE = Center Of Excellence</a:t>
            </a:r>
            <a:br>
              <a:rPr lang="en-GB" sz="500">
                <a:solidFill>
                  <a:srgbClr val="030436"/>
                </a:solidFill>
                <a:latin typeface="Open Sauce One" pitchFamily="2" charset="0"/>
              </a:rPr>
            </a:br>
            <a:r>
              <a:rPr lang="en-GB" sz="500">
                <a:solidFill>
                  <a:srgbClr val="030436"/>
                </a:solidFill>
                <a:latin typeface="Open Sauce One" pitchFamily="2" charset="0"/>
              </a:rPr>
              <a:t>E.ON = E.ON</a:t>
            </a:r>
            <a:br>
              <a:rPr lang="en-GB" sz="500">
                <a:solidFill>
                  <a:srgbClr val="030436"/>
                </a:solidFill>
                <a:latin typeface="Open Sauce One" pitchFamily="2" charset="0"/>
              </a:rPr>
            </a:br>
            <a:r>
              <a:rPr lang="en-GB" sz="500">
                <a:solidFill>
                  <a:srgbClr val="030436"/>
                </a:solidFill>
                <a:latin typeface="Open Sauce One" pitchFamily="2" charset="0"/>
              </a:rPr>
              <a:t>FT = Functional Team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500">
                <a:solidFill>
                  <a:srgbClr val="030436"/>
                </a:solidFill>
                <a:latin typeface="Open Sauce One" pitchFamily="2" charset="0"/>
              </a:rPr>
              <a:t>Hy = Hypatos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PM = Project Manag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500">
                <a:solidFill>
                  <a:srgbClr val="030436"/>
                </a:solidFill>
                <a:latin typeface="Open Sauce One" pitchFamily="2" charset="0"/>
              </a:rPr>
              <a:t>QA = Quality Assurance</a:t>
            </a:r>
            <a:br>
              <a:rPr lang="en-GB" sz="500">
                <a:solidFill>
                  <a:srgbClr val="030436"/>
                </a:solidFill>
                <a:latin typeface="Open Sauce One" pitchFamily="2" charset="0"/>
              </a:rPr>
            </a:br>
            <a:r>
              <a:rPr lang="en-GB" sz="500">
                <a:solidFill>
                  <a:srgbClr val="030436"/>
                </a:solidFill>
                <a:latin typeface="Open Sauce One" pitchFamily="2" charset="0"/>
              </a:rPr>
              <a:t>SA = Solution Architect</a:t>
            </a:r>
            <a:br>
              <a:rPr lang="en-GB" sz="600">
                <a:solidFill>
                  <a:srgbClr val="030436"/>
                </a:solidFill>
                <a:latin typeface="Open Sauce One" pitchFamily="2" charset="0"/>
              </a:rPr>
            </a:br>
            <a:endParaRPr lang="en-GB" sz="600">
              <a:solidFill>
                <a:srgbClr val="030436"/>
              </a:solidFill>
              <a:latin typeface="Open Sauce One" pitchFamily="2" charset="0"/>
            </a:endParaRPr>
          </a:p>
        </p:txBody>
      </p:sp>
      <p:sp>
        <p:nvSpPr>
          <p:cNvPr id="189" name="Oval 109">
            <a:extLst>
              <a:ext uri="{FF2B5EF4-FFF2-40B4-BE49-F238E27FC236}">
                <a16:creationId xmlns:a16="http://schemas.microsoft.com/office/drawing/2014/main" id="{6EC67754-6481-9F8D-601A-F0A94C089003}"/>
              </a:ext>
            </a:extLst>
          </p:cNvPr>
          <p:cNvSpPr/>
          <p:nvPr/>
        </p:nvSpPr>
        <p:spPr>
          <a:xfrm>
            <a:off x="329772" y="5750719"/>
            <a:ext cx="87318" cy="8731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90" name="TextBox 118">
            <a:extLst>
              <a:ext uri="{FF2B5EF4-FFF2-40B4-BE49-F238E27FC236}">
                <a16:creationId xmlns:a16="http://schemas.microsoft.com/office/drawing/2014/main" id="{143D31E1-51BA-C38D-8D44-A98EEB7DD6C2}"/>
              </a:ext>
            </a:extLst>
          </p:cNvPr>
          <p:cNvSpPr txBox="1"/>
          <p:nvPr/>
        </p:nvSpPr>
        <p:spPr>
          <a:xfrm>
            <a:off x="387933" y="5686656"/>
            <a:ext cx="10507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SteerCo Meeting</a:t>
            </a:r>
          </a:p>
        </p:txBody>
      </p:sp>
      <p:sp>
        <p:nvSpPr>
          <p:cNvPr id="191" name="Rectangle 120">
            <a:extLst>
              <a:ext uri="{FF2B5EF4-FFF2-40B4-BE49-F238E27FC236}">
                <a16:creationId xmlns:a16="http://schemas.microsoft.com/office/drawing/2014/main" id="{2249E453-D0CE-3BC3-DE3F-08313BC327FA}"/>
              </a:ext>
            </a:extLst>
          </p:cNvPr>
          <p:cNvSpPr/>
          <p:nvPr/>
        </p:nvSpPr>
        <p:spPr>
          <a:xfrm rot="2746554">
            <a:off x="332042" y="6081765"/>
            <a:ext cx="82778" cy="8277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576" name="TextBox 215">
            <a:extLst>
              <a:ext uri="{FF2B5EF4-FFF2-40B4-BE49-F238E27FC236}">
                <a16:creationId xmlns:a16="http://schemas.microsoft.com/office/drawing/2014/main" id="{100D3823-82B5-7842-480D-0A42D9AE7B61}"/>
              </a:ext>
            </a:extLst>
          </p:cNvPr>
          <p:cNvSpPr txBox="1"/>
          <p:nvPr/>
        </p:nvSpPr>
        <p:spPr>
          <a:xfrm>
            <a:off x="387933" y="6002732"/>
            <a:ext cx="21676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E.ON Deliverable</a:t>
            </a:r>
          </a:p>
        </p:txBody>
      </p:sp>
      <p:sp>
        <p:nvSpPr>
          <p:cNvPr id="577" name="Rectangle 217">
            <a:extLst>
              <a:ext uri="{FF2B5EF4-FFF2-40B4-BE49-F238E27FC236}">
                <a16:creationId xmlns:a16="http://schemas.microsoft.com/office/drawing/2014/main" id="{8F0A5FF6-30A7-6DCC-99E2-D773BDB3CE3C}"/>
              </a:ext>
            </a:extLst>
          </p:cNvPr>
          <p:cNvSpPr/>
          <p:nvPr/>
        </p:nvSpPr>
        <p:spPr>
          <a:xfrm rot="2746554">
            <a:off x="332042" y="6242156"/>
            <a:ext cx="82778" cy="82778"/>
          </a:xfrm>
          <a:prstGeom prst="rect">
            <a:avLst/>
          </a:prstGeom>
          <a:solidFill>
            <a:srgbClr val="C30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30C3E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578" name="TextBox 219">
            <a:extLst>
              <a:ext uri="{FF2B5EF4-FFF2-40B4-BE49-F238E27FC236}">
                <a16:creationId xmlns:a16="http://schemas.microsoft.com/office/drawing/2014/main" id="{621057ED-8D66-2269-55D2-6CA755D2F7F6}"/>
              </a:ext>
            </a:extLst>
          </p:cNvPr>
          <p:cNvSpPr txBox="1"/>
          <p:nvPr/>
        </p:nvSpPr>
        <p:spPr>
          <a:xfrm>
            <a:off x="387933" y="6175823"/>
            <a:ext cx="1429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ypatos Deliverable</a:t>
            </a:r>
          </a:p>
        </p:txBody>
      </p:sp>
      <p:sp>
        <p:nvSpPr>
          <p:cNvPr id="580" name="Isosceles Triangle 220">
            <a:extLst>
              <a:ext uri="{FF2B5EF4-FFF2-40B4-BE49-F238E27FC236}">
                <a16:creationId xmlns:a16="http://schemas.microsoft.com/office/drawing/2014/main" id="{4EC6B7BF-0762-166B-EE14-57065ADC916E}"/>
              </a:ext>
            </a:extLst>
          </p:cNvPr>
          <p:cNvSpPr/>
          <p:nvPr/>
        </p:nvSpPr>
        <p:spPr>
          <a:xfrm>
            <a:off x="324508" y="5905847"/>
            <a:ext cx="97846" cy="9784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584" name="TextBox 221">
            <a:extLst>
              <a:ext uri="{FF2B5EF4-FFF2-40B4-BE49-F238E27FC236}">
                <a16:creationId xmlns:a16="http://schemas.microsoft.com/office/drawing/2014/main" id="{9C1EA8C6-3E06-59F7-2AF4-0C67C3F1D7ED}"/>
              </a:ext>
            </a:extLst>
          </p:cNvPr>
          <p:cNvSpPr txBox="1"/>
          <p:nvPr/>
        </p:nvSpPr>
        <p:spPr>
          <a:xfrm>
            <a:off x="387933" y="5847048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Project Milestone</a:t>
            </a:r>
          </a:p>
        </p:txBody>
      </p:sp>
      <p:sp>
        <p:nvSpPr>
          <p:cNvPr id="586" name="Rectangle 4">
            <a:extLst>
              <a:ext uri="{FF2B5EF4-FFF2-40B4-BE49-F238E27FC236}">
                <a16:creationId xmlns:a16="http://schemas.microsoft.com/office/drawing/2014/main" id="{980AD25C-317B-AA4C-262D-8798CED91DF9}"/>
              </a:ext>
            </a:extLst>
          </p:cNvPr>
          <p:cNvSpPr/>
          <p:nvPr/>
        </p:nvSpPr>
        <p:spPr>
          <a:xfrm>
            <a:off x="1522055" y="5749985"/>
            <a:ext cx="216776" cy="754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588" name="TextBox 192">
            <a:extLst>
              <a:ext uri="{FF2B5EF4-FFF2-40B4-BE49-F238E27FC236}">
                <a16:creationId xmlns:a16="http://schemas.microsoft.com/office/drawing/2014/main" id="{70486657-6519-3FBC-04E1-7FDD70891A92}"/>
              </a:ext>
            </a:extLst>
          </p:cNvPr>
          <p:cNvSpPr txBox="1"/>
          <p:nvPr/>
        </p:nvSpPr>
        <p:spPr>
          <a:xfrm>
            <a:off x="1701433" y="5686656"/>
            <a:ext cx="131484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Full time / Mandatory</a:t>
            </a:r>
          </a:p>
        </p:txBody>
      </p:sp>
      <p:sp>
        <p:nvSpPr>
          <p:cNvPr id="589" name="TextBox 193">
            <a:extLst>
              <a:ext uri="{FF2B5EF4-FFF2-40B4-BE49-F238E27FC236}">
                <a16:creationId xmlns:a16="http://schemas.microsoft.com/office/drawing/2014/main" id="{BBA076CD-A3F1-2A68-E4BE-104682B5BF76}"/>
              </a:ext>
            </a:extLst>
          </p:cNvPr>
          <p:cNvSpPr txBox="1"/>
          <p:nvPr/>
        </p:nvSpPr>
        <p:spPr>
          <a:xfrm>
            <a:off x="1701433" y="5847048"/>
            <a:ext cx="131484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Partial time / Optional</a:t>
            </a:r>
          </a:p>
        </p:txBody>
      </p:sp>
      <p:sp>
        <p:nvSpPr>
          <p:cNvPr id="590" name="Rectangle 4">
            <a:extLst>
              <a:ext uri="{FF2B5EF4-FFF2-40B4-BE49-F238E27FC236}">
                <a16:creationId xmlns:a16="http://schemas.microsoft.com/office/drawing/2014/main" id="{B4682C49-53AB-F748-F82D-8C42804965ED}"/>
              </a:ext>
            </a:extLst>
          </p:cNvPr>
          <p:cNvSpPr/>
          <p:nvPr/>
        </p:nvSpPr>
        <p:spPr>
          <a:xfrm>
            <a:off x="1522055" y="5913233"/>
            <a:ext cx="216776" cy="75412"/>
          </a:xfrm>
          <a:prstGeom prst="rect">
            <a:avLst/>
          </a:prstGeom>
          <a:solidFill>
            <a:schemeClr val="bg1"/>
          </a:solidFill>
          <a:ln>
            <a:solidFill>
              <a:srgbClr val="C4D3F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616" name="Tartalom helye 4">
            <a:extLst>
              <a:ext uri="{FF2B5EF4-FFF2-40B4-BE49-F238E27FC236}">
                <a16:creationId xmlns:a16="http://schemas.microsoft.com/office/drawing/2014/main" id="{4E92FF3C-46DE-3DB7-4902-E0D40897D2A4}"/>
              </a:ext>
            </a:extLst>
          </p:cNvPr>
          <p:cNvSpPr txBox="1">
            <a:spLocks/>
          </p:cNvSpPr>
          <p:nvPr/>
        </p:nvSpPr>
        <p:spPr>
          <a:xfrm>
            <a:off x="407987" y="432176"/>
            <a:ext cx="11341099" cy="391374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Implementation Approach</a:t>
            </a:r>
          </a:p>
        </p:txBody>
      </p:sp>
      <p:sp>
        <p:nvSpPr>
          <p:cNvPr id="617" name="Rectangle: Rounded Corners 616">
            <a:extLst>
              <a:ext uri="{FF2B5EF4-FFF2-40B4-BE49-F238E27FC236}">
                <a16:creationId xmlns:a16="http://schemas.microsoft.com/office/drawing/2014/main" id="{1FB98578-E386-6C78-6AED-E63853C26E79}"/>
              </a:ext>
            </a:extLst>
          </p:cNvPr>
          <p:cNvSpPr/>
          <p:nvPr/>
        </p:nvSpPr>
        <p:spPr>
          <a:xfrm>
            <a:off x="11134531" y="59858"/>
            <a:ext cx="1004788" cy="391374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Focu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B62711D-221D-A8F0-C325-FD0749D61BF7}"/>
              </a:ext>
            </a:extLst>
          </p:cNvPr>
          <p:cNvSpPr/>
          <p:nvPr/>
        </p:nvSpPr>
        <p:spPr>
          <a:xfrm>
            <a:off x="3771900" y="199603"/>
            <a:ext cx="7064375" cy="391374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Open Sauce One" pitchFamily="2" charset="0"/>
              </a:rPr>
              <a:t>E.ON new milestone needed: VIM redesign</a:t>
            </a:r>
          </a:p>
        </p:txBody>
      </p:sp>
    </p:spTree>
    <p:extLst>
      <p:ext uri="{BB962C8B-B14F-4D97-AF65-F5344CB8AC3E}">
        <p14:creationId xmlns:p14="http://schemas.microsoft.com/office/powerpoint/2010/main" val="33728722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5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1&quot; g=&quot;97&quot; b=&quot;FF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DfFrXymjJDlLFQspVXs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K5cE3ZOQMojq2rGf5Y3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5QP_FmJdktt5QLh2St4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gjB.OB86eFcQLexUqqU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fAmO2odn_qIe0qH7kVl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T6fbts4gbbBoRmM7Dm7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qLXlNVxhtVK1PD9olql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W4qrXvICznj3vDJwu8w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pSICQuwceGx6n6fgSAZ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Jy5QmX1gDOEU_a7rq_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f4cWzmYFpr8JVPXlQ2J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N7p4j.bF95ch4Ga7lvo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9Kt5xje449Id6Ia87p1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oMKMdeumIb_Pxtu3tgL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_NRgMZJ4I0UP_lXUhzJ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ZIWG9.Ab9ESrdod3XMv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dT_UO3ggoQhRBEh9jVN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DgVYfJx4jt8Nz4k7KEb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KmrK6jfAP1aI1yg5uSv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E2g6HjmDhHidpvjX5z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KJDFNRsBqbv2Q5A6h5c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SujSV5LAkyUKZAJEzx7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Z9HGTrLQb60j5xd.YVR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JQAnQWvnI2wDEUDYDq3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3y6Sts1aYIxezqF8xcm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CtsgQG6EJipP18TZymn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xxKSBMIC3f8i71DCAeo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oQi7_h0pCzWie8P6mAh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jH1t5AgGRVVvzvBHL7S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FFxdrvmLiYQAW6t6Zi9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mVmf32fe6RZ6c.O0zp7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54uBs7u7XVuRhRdW1QI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BCo5tRqvgFsKgdH_uV.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hEKyWZtH0vvwpGsi6IT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rmSYk6IJwPtHFZr.LzO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quQXVmTIkQNOf03vV15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mUui7jakAIoUNghg1eZ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LdLFsTS8vOsZZTntjiz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X33nvSY3y_IWMrnoBXN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QPt0qHTPc88Mhn3K1vc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l_may_sobPQkZiT9jL6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hjeDDIvxBfWF2W2BgxS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0NtHyRKip.D9aEx_6Dg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4P5KUp3Gn8SMe4mT0A8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Nnty5GTsJwmDxWWcyF8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C4R.4fny64Wa6xcdDs0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QJwVEYn2gJ1HTWrSiSG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BQkN3i21oh1D9tYstKU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s3fgCY.M6juw.0CsHVO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lDYEcHqMuCZlzXrEgJL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hC77ZBD6HUsTJLVIxf3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mzYmNI71XPMSJ04Vb5A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T_EByG4BNZj41ZXBkP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vimFxHyQXOLsvXUGHfo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zKq2.qY2xx03r5m0YN1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8awpZzKsO6vX_bnrK17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bOOOlHycbEyfX8EVCvj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IuQKT4uT2VN.BkvZdDd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9VkD2VartFTtR1RQAxO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REnIrvpBVfPfxqMVzVX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Eb0oVwGCuJ8XWQTrHew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L9sZo4STMplXLHtmemD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kmpYd5J2EvMPPYOY4Wk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Z8gmhYHq.QT3AtMF0dI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6FLreyWSda54x8nAS_G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BtH3h9s4K6B2gbof.BL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_Dsge.EzMiGImYNMdBE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j7JfkiOUHOwU2v_uGKo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Yepy5XeJmHDPVKkbP50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OhEGtgTEOBhQtrUZo5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TH94lJ_lgxk_JUoiHcO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qTuK4ql_cu48YfmxGZi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7YXUDBOb4szq5K9Zo1g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U6GNTkEthVwNnCRArli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ChCQUOWDQ0pDJYZuEV5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.B8uJIeefVRRyXypyj9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1e71fEKukjCtbvUFY.c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3krDfc3KA29jTLi_Xhi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VAIN.xYSNDQrIFDKXPM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f3yVJ_dHOhugNvl6A1h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77eWS9yDOhYEq_VejW3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GTIECJBtiSaO_gz3wD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W5hct0XOq9YCBmUFZCA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KfSXbiPWOwtm4GxmoFc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BpNbIPFxP3tTwr2JFzM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xzpRyInV51G9IjnH3e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tTzuOSRobM7WYR9i6aX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ofPTiV2z2ir4X5.UoI6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8lnMbHJsmgAABR8s0Fc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KLf4BeLqWcZ3Vj7KN5g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3vgve8MbP_84dQ0AiXk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ZJrjFzI_bNXzuka3NoR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h2sGOMHyb9FPgd0NHfD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4YeMeZgN4ky9j0nw1f2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a6ju50EmIp7LDD9JQjk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esx0ejs9vRvEbwzQk34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H5L5mYgUuw.DT4Wpti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IwTKb7i8kWBcO_7pdXE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2TLdK9QNWjqigRlfLq.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41GyqUrHOTC_N5CxLcX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BlgjpihchiVlvBbsaSJ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ltOfHMeoI3eDKM2i88l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Lg83m__Q4psi7DmNx17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OOKXCfHZivmYJ2TeXxf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i_a7djp64nztvPt1U_b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SgBUZgxtlzgMurOPUKM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w25mXLBbsBjh8qbCR0u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t.V_vi.D8cU9T5hbTz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OeBT_0x4yxQdajGIzPh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ICuAfZHrS6fMBFzUXzW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uvE_u..rPhwgq_fc..j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w7P.V.NfpzPe8rQUE3c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JAjG3Ceyp52LpRZQly8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yV87fS3b3qG9HzUOVPC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aR1doueIwUEVXTTvend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s3BjXSYob39nVhquEpO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jM_.mjyOYDjk0vRdU5c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nCiT8tf7nu25.APAyPa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CGmAw.bMAy9rsI4d5q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lfUY35ZyPT9fBRxv5sA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wcVBZ9QdFr4w4.eUnG3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HxDTnuoddLQV_Y3GLs0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Ak4MOSGOZ8Gdqvgll1f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l58vsQ.8Gis3sSDPflK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3fRs7lmo3hZaHP3Uy9k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2r2CES0eGoXsPBkWomQ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B7taW..Yd_rsQzswk05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Aodc_nOTtpt0.sCI49Q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Udbfk5t4a.XaF.AckYI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SBziK7ma4GcxAI5lTT1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LrtSdrhSK7j.Xlv24TP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bbXSuu12X.X.nxH4oCM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uS1h8HqGT8FnloR0REF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gchY1GsaqQ76lpxOEwB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0_B7LkKlDP0visScGE2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Vfqn9OkPK.0qI_M6Xhb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NVl4L25rLAZ8_.y0LZ1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rbZ5CRc7b5Irl72uOMq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f3_DBgBerIeA56RWuO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_YcuFe0x_XgNzZPDTsF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.GP10xSeGIQlX.7KXv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AfHPNYvMpiiaD.41juF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UUEoqaVyEqnjc_yeLr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K8iorN79Cd0WtEgHfU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BQWKJbU3EcV8qRbO_Xt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YiG.gsqqEsm_BzsUgwU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YjXFxnOiFe9_EJK80il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eDfdOae9Y6TeBciwrcg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DrM0.BLk0FXoLHqCp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oIupwqNGhXWJqhLpt8_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wJHfRHwzBj60NZ.S.RE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NBdiCXYDkMFmTTcWP3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TjcLDP4ArB1M7OEjSQF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RqwaJl5lAQjRMAM9r1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wonLHSKL5KH9BpiGpEv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sv.CpN1laiVdO7BUlEz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jsko08K.oJQKdjxEh2J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XD1EsCqvB7X97lcraU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k0tQHExMdlJP32BQY_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x7LHVU4OP.isEK0OSYg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oK4qnmFhMVVRN7cHN75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qYUxF.1JXxsv3spnePV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jG1gyOcWhQ1r2P1saeT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GP6OsBfO1OmfAouYatS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spaCxKV65iXeNZ19qOb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kJHuE6wdmS9OsKmJmA3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0WB3EVgL2Z1yMVSQRr0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Ht2qzbth.zY.YZndhLx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51Ff_OS1Pmn9EKWYA8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UlJKR7lv99e4XtuJq.G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WfkFznp9yGDx64ksPni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Jg9Zq6pGfDyHqwpYlxs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KDS8.j2W3PXsdzZUCc4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XwsZijLTSdkFKcaGtoA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RFjC8n8bL6apTNx6XoW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qoNU7IWUtRXgqVvSplj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AuYRs2Boy4Wv8pJ3bQV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9Ev8BADzt8G.2iXomLc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wXhMSbdc2M6Ras7tg8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LSpPrAsU0o_C6mr8Hrx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h3OZCCADOqtX0hj9M9W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m1RokcGkYjBMEE4Izk5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4abyw81xTCq8Qa5qKV2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IV5jQLOR7kTj7imFU1V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AYljUVJigG6eooE3gWD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1nHKtKmI5aQicCaeC0h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qPOSY7oZc4b6QP3b5JO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ZQvqex.EX9CZ6T7z0cu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mqDBmKOdD8OSoqfMc.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sBxpOLtK205raSumZKz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R1x04yxXftSED9AHurL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3G9IuF76N.psALqxzIJ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CJ85MrGQx2u6cVQjLJW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27fOGM4dznMUE_bq3xo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qX9JluLgQVHsNElpiNU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nmcEhEHVk6WRgkJQou4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qOindxww5yVBhRZgpIm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eVhRF4JrH9WKf3zXjaK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dKu8X1NHEi3N2rwonQ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RzVJHlAFSWMZvolYCwH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08UU4SiLVMCP.fB2RLL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IE5WdD7u1D43DKVEdep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m7LPyEHf44Z06T8Ph4X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MAMbp7pBLLW2mUx77dH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C.0Wom_dUnXJLugf1JW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gblusAgqW0FaalD420A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A6NTUHi3HI_W6IHzunL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YppvF6xwQwuC5hq4iBF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WF6AxzmeYrl4IV5X4H6A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57a97e-bf0b-4cec-a587-841817f75a75">
      <Terms xmlns="http://schemas.microsoft.com/office/infopath/2007/PartnerControls"/>
    </lcf76f155ced4ddcb4097134ff3c332f>
    <TaxCatchAll xmlns="d57067be-9d14-4795-a8ab-0027d10e2a0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480877BA4048A9D91342E163CE04" ma:contentTypeVersion="18" ma:contentTypeDescription="Create a new document." ma:contentTypeScope="" ma:versionID="a44a9fe7ae61d9789cef6348c37c692f">
  <xsd:schema xmlns:xsd="http://www.w3.org/2001/XMLSchema" xmlns:xs="http://www.w3.org/2001/XMLSchema" xmlns:p="http://schemas.microsoft.com/office/2006/metadata/properties" xmlns:ns2="2d57a97e-bf0b-4cec-a587-841817f75a75" xmlns:ns3="d57067be-9d14-4795-a8ab-0027d10e2a03" targetNamespace="http://schemas.microsoft.com/office/2006/metadata/properties" ma:root="true" ma:fieldsID="6ca95eae8ed1bc77ef0c7305f1f4104a" ns2:_="" ns3:_="">
    <xsd:import namespace="2d57a97e-bf0b-4cec-a587-841817f75a75"/>
    <xsd:import namespace="d57067be-9d14-4795-a8ab-0027d10e2a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7a97e-bf0b-4cec-a587-841817f75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cac98fe-d733-4e69-82d2-f2b5707461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067be-9d14-4795-a8ab-0027d10e2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9984ec3-4967-4aa6-95d4-7574c46fc649}" ma:internalName="TaxCatchAll" ma:showField="CatchAllData" ma:web="d57067be-9d14-4795-a8ab-0027d10e2a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AD2F3AC-88EC-420A-9944-99471C836986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microsoft.com/office/2006/metadata/properties"/>
    <ds:schemaRef ds:uri="d57067be-9d14-4795-a8ab-0027d10e2a03"/>
    <ds:schemaRef ds:uri="http://purl.org/dc/terms/"/>
    <ds:schemaRef ds:uri="http://schemas.openxmlformats.org/package/2006/metadata/core-properties"/>
    <ds:schemaRef ds:uri="2d57a97e-bf0b-4cec-a587-841817f75a75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3C319C9-8DFE-4DEA-87FC-52B4DFEE77A6}">
  <ds:schemaRefs>
    <ds:schemaRef ds:uri="2d57a97e-bf0b-4cec-a587-841817f75a75"/>
    <ds:schemaRef ds:uri="d57067be-9d14-4795-a8ab-0027d10e2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64</TotalTime>
  <Words>1086</Words>
  <Application>Microsoft Macintosh PowerPoint</Application>
  <PresentationFormat>Widescreen</PresentationFormat>
  <Paragraphs>327</Paragraphs>
  <Slides>1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Lato</vt:lpstr>
      <vt:lpstr>Open Sauce One</vt:lpstr>
      <vt:lpstr>Hypatos-theme</vt:lpstr>
      <vt:lpstr>think-cell Slide</vt:lpstr>
      <vt:lpstr>Next Generation AI for Document Automation – Accounts Payables</vt:lpstr>
      <vt:lpstr>PowerPoint Presentation</vt:lpstr>
      <vt:lpstr>Agenda</vt:lpstr>
      <vt:lpstr>Risks – Focus on Open / In Response</vt:lpstr>
      <vt:lpstr>Issues</vt:lpstr>
      <vt:lpstr>Decisions</vt:lpstr>
      <vt:lpstr>Agenda</vt:lpstr>
      <vt:lpstr>Weekly Report – </vt:lpstr>
      <vt:lpstr>Indicative Project Plan for E.ON MVP Go-Live in Mar ’25 + Roll-out and Enhancement Waves along 2025</vt:lpstr>
      <vt:lpstr>PowerPoint Presentation</vt:lpstr>
      <vt:lpstr>Agenda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ke x Hypatos Pilot Kick-off</dc:title>
  <dc:creator>Microsoft Office User</dc:creator>
  <cp:lastModifiedBy>Yavuz Güney</cp:lastModifiedBy>
  <cp:revision>32</cp:revision>
  <dcterms:created xsi:type="dcterms:W3CDTF">2023-03-02T14:07:47Z</dcterms:created>
  <dcterms:modified xsi:type="dcterms:W3CDTF">2024-11-12T22:4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480877BA4048A9D91342E163CE04</vt:lpwstr>
  </property>
  <property fmtid="{D5CDD505-2E9C-101B-9397-08002B2CF9AE}" pid="3" name="MediaServiceImageTags">
    <vt:lpwstr/>
  </property>
</Properties>
</file>